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charts/chart5.xml" ContentType="application/vnd.openxmlformats-officedocument.drawingml.chart+xml"/>
  <Override PartName="/ppt/theme/themeOverride1.xml" ContentType="application/vnd.openxmlformats-officedocument.themeOverr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charts/chart6.xml" ContentType="application/vnd.openxmlformats-officedocument.drawingml.chart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79" r:id="rId1"/>
    <p:sldMasterId id="2147484025" r:id="rId2"/>
    <p:sldMasterId id="2147484046" r:id="rId3"/>
  </p:sldMasterIdLst>
  <p:notesMasterIdLst>
    <p:notesMasterId r:id="rId14"/>
  </p:notesMasterIdLst>
  <p:sldIdLst>
    <p:sldId id="4581" r:id="rId4"/>
    <p:sldId id="4636" r:id="rId5"/>
    <p:sldId id="4637" r:id="rId6"/>
    <p:sldId id="4660" r:id="rId7"/>
    <p:sldId id="4661" r:id="rId8"/>
    <p:sldId id="4560" r:id="rId9"/>
    <p:sldId id="4634" r:id="rId10"/>
    <p:sldId id="4559" r:id="rId11"/>
    <p:sldId id="4662" r:id="rId12"/>
    <p:sldId id="4663" r:id="rId13"/>
  </p:sldIdLst>
  <p:sldSz cx="12192000" cy="6858000"/>
  <p:notesSz cx="6858000" cy="9144000"/>
  <p:embeddedFontLst>
    <p:embeddedFont>
      <p:font typeface="Arial Black" panose="020B0A04020102020204" pitchFamily="34" charset="0"/>
      <p:bold r:id="rId15"/>
    </p:embeddedFont>
    <p:embeddedFont>
      <p:font typeface="Calibri" panose="020F0502020204030204" pitchFamily="34" charset="0"/>
      <p:regular r:id="rId16"/>
      <p:bold r:id="rId17"/>
      <p:italic r:id="rId18"/>
      <p:boldItalic r:id="rId19"/>
    </p:embeddedFont>
    <p:embeddedFont>
      <p:font typeface="Calibri Light" panose="020F0302020204030204" pitchFamily="34" charset="0"/>
      <p:regular r:id="rId20"/>
      <p:italic r:id="rId21"/>
    </p:embeddedFont>
  </p:embeddedFontLst>
  <p:custDataLst>
    <p:tags r:id="rId22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ohlová Radka Mgr." initials="PRM" lastIdx="1" clrIdx="0">
    <p:extLst>
      <p:ext uri="{19B8F6BF-5375-455C-9EA6-DF929625EA0E}">
        <p15:presenceInfo xmlns:p15="http://schemas.microsoft.com/office/powerpoint/2012/main" userId="S::pohlovar@mzcr.cz::15a606af-c9df-42db-9d4e-541ca0551712" providerId="AD"/>
      </p:ext>
    </p:extLst>
  </p:cmAuthor>
  <p:cmAuthor id="2" name="Žofka Jan Mgr. Ing." initials="ŽJMI" lastIdx="1" clrIdx="1">
    <p:extLst>
      <p:ext uri="{19B8F6BF-5375-455C-9EA6-DF929625EA0E}">
        <p15:presenceInfo xmlns:p15="http://schemas.microsoft.com/office/powerpoint/2012/main" userId="S::zofkaj@mzcr.cz::47242822-da23-458e-81a5-68dba5d2ccc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335E8A"/>
    <a:srgbClr val="00FF00"/>
    <a:srgbClr val="BC0000"/>
    <a:srgbClr val="FF0000"/>
    <a:srgbClr val="00B050"/>
    <a:srgbClr val="305983"/>
    <a:srgbClr val="C00000"/>
    <a:srgbClr val="92D050"/>
    <a:srgbClr val="00B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97" autoAdjust="0"/>
    <p:restoredTop sz="94157" autoAdjust="0"/>
  </p:normalViewPr>
  <p:slideViewPr>
    <p:cSldViewPr snapToGrid="0">
      <p:cViewPr varScale="1">
        <p:scale>
          <a:sx n="101" d="100"/>
          <a:sy n="101" d="100"/>
        </p:scale>
        <p:origin x="150" y="174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font" Target="fonts/font4.fntdata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font" Target="fonts/font7.fntdata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font" Target="fonts/font3.fntdata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font" Target="fonts/font1.fntdata"/><Relationship Id="rId23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font" Target="fonts/font5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1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H$122:$H$309</c:f>
              <c:numCache>
                <c:formatCode>General</c:formatCode>
                <c:ptCount val="18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4C6-4CA2-937D-BBB2646D5F64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I$122:$I$309</c:f>
              <c:numCache>
                <c:formatCode>General</c:formatCode>
                <c:ptCount val="18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4C6-4CA2-937D-BBB2646D5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B$122:$B$309</c:f>
              <c:numCache>
                <c:formatCode>0</c:formatCode>
                <c:ptCount val="188"/>
                <c:pt idx="0">
                  <c:v>26.500271870736977</c:v>
                </c:pt>
                <c:pt idx="1">
                  <c:v>24.771586999056321</c:v>
                </c:pt>
                <c:pt idx="2">
                  <c:v>24.033391837635936</c:v>
                </c:pt>
                <c:pt idx="3">
                  <c:v>22.790607578535788</c:v>
                </c:pt>
                <c:pt idx="4">
                  <c:v>22.145854842611651</c:v>
                </c:pt>
                <c:pt idx="5">
                  <c:v>22.005691204367277</c:v>
                </c:pt>
                <c:pt idx="6">
                  <c:v>19.959302085999365</c:v>
                </c:pt>
                <c:pt idx="7">
                  <c:v>19.062254801235344</c:v>
                </c:pt>
                <c:pt idx="8">
                  <c:v>18.090453576074328</c:v>
                </c:pt>
                <c:pt idx="9">
                  <c:v>15.866523849263539</c:v>
                </c:pt>
                <c:pt idx="10">
                  <c:v>14.520952922117514</c:v>
                </c:pt>
                <c:pt idx="11">
                  <c:v>13.7734135181475</c:v>
                </c:pt>
                <c:pt idx="12">
                  <c:v>13.250135935368489</c:v>
                </c:pt>
                <c:pt idx="13">
                  <c:v>12.110138344314221</c:v>
                </c:pt>
                <c:pt idx="14">
                  <c:v>10.465551655580189</c:v>
                </c:pt>
                <c:pt idx="15">
                  <c:v>9.3255540645259192</c:v>
                </c:pt>
                <c:pt idx="16">
                  <c:v>9.0358825454875404</c:v>
                </c:pt>
                <c:pt idx="17">
                  <c:v>8.7088340562506588</c:v>
                </c:pt>
                <c:pt idx="18">
                  <c:v>8.6153916307544076</c:v>
                </c:pt>
                <c:pt idx="19">
                  <c:v>8.7555552689987834</c:v>
                </c:pt>
                <c:pt idx="20">
                  <c:v>8.2322776862197742</c:v>
                </c:pt>
                <c:pt idx="21">
                  <c:v>7.3258861589061333</c:v>
                </c:pt>
                <c:pt idx="22">
                  <c:v>7.1203128228143786</c:v>
                </c:pt>
                <c:pt idx="23">
                  <c:v>6.5503140272872447</c:v>
                </c:pt>
                <c:pt idx="24">
                  <c:v>6.4288388741421167</c:v>
                </c:pt>
                <c:pt idx="25">
                  <c:v>6.4755600868902432</c:v>
                </c:pt>
                <c:pt idx="26">
                  <c:v>6.4849043294398685</c:v>
                </c:pt>
                <c:pt idx="27">
                  <c:v>6.7932643335774978</c:v>
                </c:pt>
                <c:pt idx="28">
                  <c:v>7.2044110057610053</c:v>
                </c:pt>
                <c:pt idx="29">
                  <c:v>7.4847382822497606</c:v>
                </c:pt>
                <c:pt idx="30">
                  <c:v>8.1294910181738977</c:v>
                </c:pt>
                <c:pt idx="31">
                  <c:v>8.4378510223115288</c:v>
                </c:pt>
                <c:pt idx="32">
                  <c:v>8.9798170901897887</c:v>
                </c:pt>
                <c:pt idx="33">
                  <c:v>9.4470292176710462</c:v>
                </c:pt>
                <c:pt idx="34">
                  <c:v>9.2414558815792933</c:v>
                </c:pt>
                <c:pt idx="35">
                  <c:v>8.8116207242965352</c:v>
                </c:pt>
                <c:pt idx="36">
                  <c:v>10.15719165144256</c:v>
                </c:pt>
                <c:pt idx="37">
                  <c:v>10.932763783061448</c:v>
                </c:pt>
                <c:pt idx="38">
                  <c:v>12.054072889016469</c:v>
                </c:pt>
                <c:pt idx="39">
                  <c:v>12.34374440805485</c:v>
                </c:pt>
                <c:pt idx="40">
                  <c:v>12.717514110039856</c:v>
                </c:pt>
                <c:pt idx="41">
                  <c:v>13.792102003246752</c:v>
                </c:pt>
                <c:pt idx="42">
                  <c:v>15.773081423767286</c:v>
                </c:pt>
                <c:pt idx="43">
                  <c:v>15.595540815324409</c:v>
                </c:pt>
                <c:pt idx="44">
                  <c:v>15.371278994133405</c:v>
                </c:pt>
                <c:pt idx="45">
                  <c:v>14.978820807049148</c:v>
                </c:pt>
                <c:pt idx="46">
                  <c:v>15.352590509034155</c:v>
                </c:pt>
                <c:pt idx="47">
                  <c:v>15.053574747446149</c:v>
                </c:pt>
                <c:pt idx="48">
                  <c:v>14.810624441155895</c:v>
                </c:pt>
                <c:pt idx="49">
                  <c:v>14.60505110506414</c:v>
                </c:pt>
                <c:pt idx="50">
                  <c:v>14.33406807112501</c:v>
                </c:pt>
                <c:pt idx="51">
                  <c:v>14.091117764834754</c:v>
                </c:pt>
                <c:pt idx="52">
                  <c:v>13.586528667154996</c:v>
                </c:pt>
                <c:pt idx="53">
                  <c:v>12.923087446131611</c:v>
                </c:pt>
                <c:pt idx="54">
                  <c:v>12.596038956894731</c:v>
                </c:pt>
                <c:pt idx="55">
                  <c:v>12.399809863352599</c:v>
                </c:pt>
                <c:pt idx="56">
                  <c:v>11.988663191169092</c:v>
                </c:pt>
                <c:pt idx="57">
                  <c:v>11.614893489184086</c:v>
                </c:pt>
                <c:pt idx="58">
                  <c:v>11.670958944481836</c:v>
                </c:pt>
                <c:pt idx="59">
                  <c:v>11.194402574450953</c:v>
                </c:pt>
                <c:pt idx="60">
                  <c:v>11.100960148954702</c:v>
                </c:pt>
                <c:pt idx="61">
                  <c:v>11.0635831787562</c:v>
                </c:pt>
                <c:pt idx="62">
                  <c:v>10.633748021473442</c:v>
                </c:pt>
                <c:pt idx="63">
                  <c:v>10.465551655580189</c:v>
                </c:pt>
                <c:pt idx="64">
                  <c:v>10.605715293824568</c:v>
                </c:pt>
                <c:pt idx="65">
                  <c:v>10.21325710674031</c:v>
                </c:pt>
                <c:pt idx="66">
                  <c:v>10.558994081076442</c:v>
                </c:pt>
                <c:pt idx="67">
                  <c:v>10.914075297962199</c:v>
                </c:pt>
                <c:pt idx="68">
                  <c:v>11.194402574450953</c:v>
                </c:pt>
                <c:pt idx="69">
                  <c:v>11.381287425443457</c:v>
                </c:pt>
                <c:pt idx="70">
                  <c:v>11.58686076153521</c:v>
                </c:pt>
                <c:pt idx="71">
                  <c:v>11.689647429581088</c:v>
                </c:pt>
                <c:pt idx="72">
                  <c:v>11.932597735871342</c:v>
                </c:pt>
                <c:pt idx="73">
                  <c:v>12.34374440805485</c:v>
                </c:pt>
                <c:pt idx="74">
                  <c:v>12.231613497459346</c:v>
                </c:pt>
                <c:pt idx="75">
                  <c:v>11.951286220970593</c:v>
                </c:pt>
                <c:pt idx="76">
                  <c:v>12.353088650604473</c:v>
                </c:pt>
                <c:pt idx="77">
                  <c:v>12.726858352589479</c:v>
                </c:pt>
                <c:pt idx="78">
                  <c:v>12.624071684543605</c:v>
                </c:pt>
                <c:pt idx="79">
                  <c:v>12.399809863352599</c:v>
                </c:pt>
                <c:pt idx="80">
                  <c:v>11.951286220970593</c:v>
                </c:pt>
                <c:pt idx="81">
                  <c:v>11.87653228057359</c:v>
                </c:pt>
                <c:pt idx="82">
                  <c:v>12.156859557062345</c:v>
                </c:pt>
                <c:pt idx="83">
                  <c:v>12.119482586863846</c:v>
                </c:pt>
                <c:pt idx="84">
                  <c:v>11.642926216832961</c:v>
                </c:pt>
                <c:pt idx="85">
                  <c:v>11.998007433718717</c:v>
                </c:pt>
                <c:pt idx="86">
                  <c:v>12.427842591001477</c:v>
                </c:pt>
                <c:pt idx="87">
                  <c:v>12.530629259047352</c:v>
                </c:pt>
                <c:pt idx="88">
                  <c:v>12.521285016497727</c:v>
                </c:pt>
                <c:pt idx="89">
                  <c:v>12.278334710207474</c:v>
                </c:pt>
                <c:pt idx="90">
                  <c:v>12.558661986696228</c:v>
                </c:pt>
                <c:pt idx="91">
                  <c:v>12.951120173780486</c:v>
                </c:pt>
                <c:pt idx="92">
                  <c:v>13.100628054574489</c:v>
                </c:pt>
                <c:pt idx="93">
                  <c:v>13.978986854239254</c:v>
                </c:pt>
                <c:pt idx="94">
                  <c:v>15.156361415492027</c:v>
                </c:pt>
                <c:pt idx="95">
                  <c:v>15.84783536416429</c:v>
                </c:pt>
                <c:pt idx="96">
                  <c:v>16.399145674592173</c:v>
                </c:pt>
                <c:pt idx="97">
                  <c:v>17.8194705421352</c:v>
                </c:pt>
                <c:pt idx="98">
                  <c:v>20.54798936662575</c:v>
                </c:pt>
                <c:pt idx="99">
                  <c:v>21.659954230031143</c:v>
                </c:pt>
                <c:pt idx="100">
                  <c:v>22.715853638138789</c:v>
                </c:pt>
                <c:pt idx="101">
                  <c:v>23.986670624887811</c:v>
                </c:pt>
                <c:pt idx="102">
                  <c:v>24.388473054521693</c:v>
                </c:pt>
                <c:pt idx="103">
                  <c:v>24.351096084323192</c:v>
                </c:pt>
                <c:pt idx="104">
                  <c:v>25.276176096736084</c:v>
                </c:pt>
                <c:pt idx="105">
                  <c:v>25.03322579044583</c:v>
                </c:pt>
                <c:pt idx="106">
                  <c:v>26.360108232492603</c:v>
                </c:pt>
                <c:pt idx="107">
                  <c:v>27.649613704340879</c:v>
                </c:pt>
                <c:pt idx="108">
                  <c:v>27.640269461791252</c:v>
                </c:pt>
                <c:pt idx="109">
                  <c:v>28.116825831822133</c:v>
                </c:pt>
                <c:pt idx="110">
                  <c:v>28.593382201853021</c:v>
                </c:pt>
                <c:pt idx="111">
                  <c:v>28.490595533807141</c:v>
                </c:pt>
                <c:pt idx="112">
                  <c:v>28.855020993242523</c:v>
                </c:pt>
                <c:pt idx="113">
                  <c:v>28.855020993242523</c:v>
                </c:pt>
                <c:pt idx="114">
                  <c:v>28.172891287119885</c:v>
                </c:pt>
                <c:pt idx="115">
                  <c:v>28.808299780494398</c:v>
                </c:pt>
                <c:pt idx="116">
                  <c:v>29.86419918860204</c:v>
                </c:pt>
                <c:pt idx="117">
                  <c:v>30.452886469228428</c:v>
                </c:pt>
                <c:pt idx="118">
                  <c:v>32.256325281306083</c:v>
                </c:pt>
                <c:pt idx="119">
                  <c:v>31.116327690251815</c:v>
                </c:pt>
                <c:pt idx="120">
                  <c:v>33.078618625673101</c:v>
                </c:pt>
                <c:pt idx="121">
                  <c:v>37.152708377309679</c:v>
                </c:pt>
                <c:pt idx="122">
                  <c:v>40.114833265540852</c:v>
                </c:pt>
                <c:pt idx="123">
                  <c:v>41.404338737389125</c:v>
                </c:pt>
                <c:pt idx="124">
                  <c:v>42.039747230763638</c:v>
                </c:pt>
                <c:pt idx="125">
                  <c:v>43.263843004764531</c:v>
                </c:pt>
                <c:pt idx="126">
                  <c:v>49.234813993975017</c:v>
                </c:pt>
                <c:pt idx="127">
                  <c:v>52.178250397106943</c:v>
                </c:pt>
                <c:pt idx="128">
                  <c:v>52.841691618130334</c:v>
                </c:pt>
                <c:pt idx="129">
                  <c:v>54.607753460009491</c:v>
                </c:pt>
                <c:pt idx="130">
                  <c:v>55.68234135321638</c:v>
                </c:pt>
                <c:pt idx="131">
                  <c:v>55.850537719109646</c:v>
                </c:pt>
                <c:pt idx="132">
                  <c:v>60.877740210807978</c:v>
                </c:pt>
                <c:pt idx="133">
                  <c:v>64.55937177536029</c:v>
                </c:pt>
                <c:pt idx="134">
                  <c:v>68.773625165241242</c:v>
                </c:pt>
                <c:pt idx="135">
                  <c:v>73.894270082435838</c:v>
                </c:pt>
                <c:pt idx="136">
                  <c:v>81.042615632899086</c:v>
                </c:pt>
                <c:pt idx="137">
                  <c:v>85.630638724765049</c:v>
                </c:pt>
                <c:pt idx="138">
                  <c:v>89.919646055043003</c:v>
                </c:pt>
                <c:pt idx="139">
                  <c:v>101.03929468909696</c:v>
                </c:pt>
                <c:pt idx="140">
                  <c:v>117.32630945309364</c:v>
                </c:pt>
                <c:pt idx="141">
                  <c:v>133.95906119142643</c:v>
                </c:pt>
                <c:pt idx="142">
                  <c:v>153.62869175838742</c:v>
                </c:pt>
                <c:pt idx="143">
                  <c:v>176.58749570281645</c:v>
                </c:pt>
                <c:pt idx="144">
                  <c:v>191.51959529711749</c:v>
                </c:pt>
                <c:pt idx="145">
                  <c:v>201.26564027637653</c:v>
                </c:pt>
                <c:pt idx="146">
                  <c:v>217.62740898077018</c:v>
                </c:pt>
                <c:pt idx="147">
                  <c:v>246.01521784653147</c:v>
                </c:pt>
                <c:pt idx="148">
                  <c:v>270.04860968416745</c:v>
                </c:pt>
                <c:pt idx="149">
                  <c:v>276.70171037950053</c:v>
                </c:pt>
                <c:pt idx="150">
                  <c:v>290.84889359963302</c:v>
                </c:pt>
                <c:pt idx="151">
                  <c:v>312.35933994887017</c:v>
                </c:pt>
                <c:pt idx="152">
                  <c:v>321.04948552002156</c:v>
                </c:pt>
                <c:pt idx="153">
                  <c:v>352.1284362400749</c:v>
                </c:pt>
                <c:pt idx="154">
                  <c:v>386.11344639306168</c:v>
                </c:pt>
                <c:pt idx="155">
                  <c:v>419.95829290780398</c:v>
                </c:pt>
                <c:pt idx="156">
                  <c:v>458.37247402931308</c:v>
                </c:pt>
                <c:pt idx="157">
                  <c:v>491.01191325515373</c:v>
                </c:pt>
                <c:pt idx="158">
                  <c:v>497.38468667399815</c:v>
                </c:pt>
                <c:pt idx="159">
                  <c:v>499.63664912845786</c:v>
                </c:pt>
                <c:pt idx="160">
                  <c:v>515.23218994378226</c:v>
                </c:pt>
                <c:pt idx="161">
                  <c:v>558.63619658679113</c:v>
                </c:pt>
                <c:pt idx="162">
                  <c:v>596.59250982336857</c:v>
                </c:pt>
                <c:pt idx="163">
                  <c:v>614.92591370573314</c:v>
                </c:pt>
                <c:pt idx="164">
                  <c:v>661.58171675601159</c:v>
                </c:pt>
                <c:pt idx="165">
                  <c:v>693.70722264162293</c:v>
                </c:pt>
                <c:pt idx="166">
                  <c:v>718.57225206617557</c:v>
                </c:pt>
                <c:pt idx="167">
                  <c:v>739.69958447087799</c:v>
                </c:pt>
                <c:pt idx="168">
                  <c:v>813.89287031490187</c:v>
                </c:pt>
                <c:pt idx="169">
                  <c:v>819.62089099782213</c:v>
                </c:pt>
                <c:pt idx="170">
                  <c:v>847.47607803825485</c:v>
                </c:pt>
                <c:pt idx="171">
                  <c:v>928.97656155608547</c:v>
                </c:pt>
                <c:pt idx="172">
                  <c:v>977.86563857572435</c:v>
                </c:pt>
                <c:pt idx="173">
                  <c:v>1002.0391940516047</c:v>
                </c:pt>
                <c:pt idx="174">
                  <c:v>1029.6794635133958</c:v>
                </c:pt>
                <c:pt idx="175">
                  <c:v>1061.2630033311291</c:v>
                </c:pt>
                <c:pt idx="176">
                  <c:v>1097.5466971513235</c:v>
                </c:pt>
                <c:pt idx="177">
                  <c:v>1233.1877220016825</c:v>
                </c:pt>
                <c:pt idx="178">
                  <c:v>1208.8272816748097</c:v>
                </c:pt>
                <c:pt idx="179">
                  <c:v>1191.2040402262166</c:v>
                </c:pt>
                <c:pt idx="180">
                  <c:v>1200.9500852054757</c:v>
                </c:pt>
                <c:pt idx="181">
                  <c:v>1230.0106795348099</c:v>
                </c:pt>
                <c:pt idx="182">
                  <c:v>1193.4092814679282</c:v>
                </c:pt>
                <c:pt idx="183" formatCode="General">
                  <c:v>12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4C6-4CA2-937D-BBB2646D5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C$122:$C$309</c:f>
              <c:numCache>
                <c:formatCode>General</c:formatCode>
                <c:ptCount val="18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4C6-4CA2-937D-BBB2646D5F6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D$122:$D$309</c:f>
              <c:numCache>
                <c:formatCode>General</c:formatCode>
                <c:ptCount val="188"/>
                <c:pt idx="164" formatCode="0">
                  <c:v>625.06550783174396</c:v>
                </c:pt>
                <c:pt idx="165" formatCode="0">
                  <c:v>645.23307298493933</c:v>
                </c:pt>
                <c:pt idx="166" formatCode="0">
                  <c:v>663.38465111031746</c:v>
                </c:pt>
                <c:pt idx="167" formatCode="0">
                  <c:v>680.75472770979945</c:v>
                </c:pt>
                <c:pt idx="168" formatCode="0">
                  <c:v>695.42644691107682</c:v>
                </c:pt>
                <c:pt idx="169" formatCode="0">
                  <c:v>706.14084004505116</c:v>
                </c:pt>
                <c:pt idx="170" formatCode="0">
                  <c:v>712.0128895995266</c:v>
                </c:pt>
                <c:pt idx="171" formatCode="0">
                  <c:v>722.3430952000291</c:v>
                </c:pt>
                <c:pt idx="172" formatCode="0">
                  <c:v>737.68391533491433</c:v>
                </c:pt>
                <c:pt idx="173" formatCode="0">
                  <c:v>753.33903519939224</c:v>
                </c:pt>
                <c:pt idx="174" formatCode="0">
                  <c:v>767.38523978143087</c:v>
                </c:pt>
                <c:pt idx="175" formatCode="0">
                  <c:v>780.51847848227158</c:v>
                </c:pt>
                <c:pt idx="176" formatCode="0">
                  <c:v>793.67416716379751</c:v>
                </c:pt>
                <c:pt idx="177" formatCode="0">
                  <c:v>807.76527170720658</c:v>
                </c:pt>
                <c:pt idx="178" formatCode="0">
                  <c:v>823.50270816753027</c:v>
                </c:pt>
                <c:pt idx="179" formatCode="0">
                  <c:v>839.35239453127997</c:v>
                </c:pt>
                <c:pt idx="180" formatCode="0">
                  <c:v>854.65579803168964</c:v>
                </c:pt>
                <c:pt idx="181" formatCode="0">
                  <c:v>869.5700685335562</c:v>
                </c:pt>
                <c:pt idx="182" formatCode="0">
                  <c:v>884.97075528360187</c:v>
                </c:pt>
                <c:pt idx="183" formatCode="0">
                  <c:v>901.12725805004925</c:v>
                </c:pt>
                <c:pt idx="184" formatCode="0">
                  <c:v>917.89739362189198</c:v>
                </c:pt>
                <c:pt idx="185" formatCode="0">
                  <c:v>934.88454567369149</c:v>
                </c:pt>
                <c:pt idx="186" formatCode="0">
                  <c:v>951.78938112964534</c:v>
                </c:pt>
                <c:pt idx="187" formatCode="0">
                  <c:v>968.78401650834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4C6-4CA2-937D-BBB2646D5F6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E$122:$E$309</c:f>
              <c:numCache>
                <c:formatCode>General</c:formatCode>
                <c:ptCount val="188"/>
                <c:pt idx="164" formatCode="0">
                  <c:v>628.59912610049571</c:v>
                </c:pt>
                <c:pt idx="165" formatCode="0">
                  <c:v>654.40911973257084</c:v>
                </c:pt>
                <c:pt idx="166" formatCode="0">
                  <c:v>679.69230838894703</c:v>
                </c:pt>
                <c:pt idx="167" formatCode="0">
                  <c:v>705.30901122679165</c:v>
                </c:pt>
                <c:pt idx="168" formatCode="0">
                  <c:v>729.91110521782127</c:v>
                </c:pt>
                <c:pt idx="169" formatCode="0">
                  <c:v>752.6287546914815</c:v>
                </c:pt>
                <c:pt idx="170" formatCode="0">
                  <c:v>772.89124186516892</c:v>
                </c:pt>
                <c:pt idx="171" formatCode="0">
                  <c:v>796.70491455629906</c:v>
                </c:pt>
                <c:pt idx="172" formatCode="0">
                  <c:v>825.65042298641424</c:v>
                </c:pt>
                <c:pt idx="173" formatCode="0">
                  <c:v>855.61366387425824</c:v>
                </c:pt>
                <c:pt idx="174" formatCode="0">
                  <c:v>885.27757168629967</c:v>
                </c:pt>
                <c:pt idx="175" formatCode="0">
                  <c:v>915.14352932450765</c:v>
                </c:pt>
                <c:pt idx="176" formatCode="0">
                  <c:v>945.90748619012379</c:v>
                </c:pt>
                <c:pt idx="177" formatCode="0">
                  <c:v>978.23545837680865</c:v>
                </c:pt>
                <c:pt idx="178" formatCode="0">
                  <c:v>1012.6437954403217</c:v>
                </c:pt>
                <c:pt idx="179" formatCode="0">
                  <c:v>1048.0773482884588</c:v>
                </c:pt>
                <c:pt idx="180" formatCode="0">
                  <c:v>1084.1095672882013</c:v>
                </c:pt>
                <c:pt idx="181" formatCode="0">
                  <c:v>1120.8751523236604</c:v>
                </c:pt>
                <c:pt idx="182" formatCode="0">
                  <c:v>1159.0625694691817</c:v>
                </c:pt>
                <c:pt idx="183" formatCode="0">
                  <c:v>1198.9262518391981</c:v>
                </c:pt>
                <c:pt idx="184" formatCode="0">
                  <c:v>1240.3838828378632</c:v>
                </c:pt>
                <c:pt idx="185" formatCode="0">
                  <c:v>1283.1735460238501</c:v>
                </c:pt>
                <c:pt idx="186" formatCode="0">
                  <c:v>1327.0931915709921</c:v>
                </c:pt>
                <c:pt idx="187" formatCode="0">
                  <c:v>1372.33738597856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4C6-4CA2-937D-BBB2646D5F64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F$122:$F$309</c:f>
              <c:numCache>
                <c:formatCode>General</c:formatCode>
                <c:ptCount val="188"/>
                <c:pt idx="164" formatCode="0">
                  <c:v>632.14044288399441</c:v>
                </c:pt>
                <c:pt idx="165" formatCode="0">
                  <c:v>663.5853816680542</c:v>
                </c:pt>
                <c:pt idx="166" formatCode="0">
                  <c:v>696.01514750921831</c:v>
                </c:pt>
                <c:pt idx="167" formatCode="0">
                  <c:v>729.87847658542557</c:v>
                </c:pt>
                <c:pt idx="168" formatCode="0">
                  <c:v>764.58306188479412</c:v>
                </c:pt>
                <c:pt idx="169" formatCode="0">
                  <c:v>799.77541729252937</c:v>
                </c:pt>
                <c:pt idx="170" formatCode="0">
                  <c:v>835.24402471699068</c:v>
                </c:pt>
                <c:pt idx="171" formatCode="0">
                  <c:v>873.76073159479301</c:v>
                </c:pt>
                <c:pt idx="172" formatCode="0">
                  <c:v>917.91236027568209</c:v>
                </c:pt>
                <c:pt idx="173" formatCode="0">
                  <c:v>964.25660373682547</c:v>
                </c:pt>
                <c:pt idx="174" formatCode="0">
                  <c:v>1012.2546624417782</c:v>
                </c:pt>
                <c:pt idx="175" formatCode="0">
                  <c:v>1062.2208361201335</c:v>
                </c:pt>
                <c:pt idx="176" formatCode="0">
                  <c:v>1114.5816744049098</c:v>
                </c:pt>
                <c:pt idx="177" formatCode="0">
                  <c:v>1169.8011435636015</c:v>
                </c:pt>
                <c:pt idx="178" formatCode="0">
                  <c:v>1228.2085099795909</c:v>
                </c:pt>
                <c:pt idx="179" formatCode="0">
                  <c:v>1289.414640654335</c:v>
                </c:pt>
                <c:pt idx="180" formatCode="0">
                  <c:v>1353.307285684408</c:v>
                </c:pt>
                <c:pt idx="181" formatCode="0">
                  <c:v>1420.0884948959765</c:v>
                </c:pt>
                <c:pt idx="182" formatCode="0">
                  <c:v>1490.2596511910099</c:v>
                </c:pt>
                <c:pt idx="183" formatCode="0">
                  <c:v>1564.0976376646249</c:v>
                </c:pt>
                <c:pt idx="184" formatCode="0">
                  <c:v>1641.6772875857737</c:v>
                </c:pt>
                <c:pt idx="185" formatCode="0">
                  <c:v>1723.02105093514</c:v>
                </c:pt>
                <c:pt idx="186" formatCode="0">
                  <c:v>1808.1962776547809</c:v>
                </c:pt>
                <c:pt idx="187" formatCode="0">
                  <c:v>1897.46488418602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D4C6-4CA2-937D-BBB2646D5F64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G$122:$G$309</c:f>
              <c:numCache>
                <c:formatCode>General</c:formatCode>
                <c:ptCount val="188"/>
                <c:pt idx="164" formatCode="0">
                  <c:v>635.67406115274616</c:v>
                </c:pt>
                <c:pt idx="165" formatCode="0">
                  <c:v>672.7614284156856</c:v>
                </c:pt>
                <c:pt idx="166" formatCode="0">
                  <c:v>712.32280478784753</c:v>
                </c:pt>
                <c:pt idx="167" formatCode="0">
                  <c:v>754.43276010241743</c:v>
                </c:pt>
                <c:pt idx="168" formatCode="0">
                  <c:v>799.41195322871181</c:v>
                </c:pt>
                <c:pt idx="169" formatCode="0">
                  <c:v>847.52053085733075</c:v>
                </c:pt>
                <c:pt idx="170" formatCode="0">
                  <c:v>899.00345783723321</c:v>
                </c:pt>
                <c:pt idx="171" formatCode="0">
                  <c:v>953.45067970035029</c:v>
                </c:pt>
                <c:pt idx="172" formatCode="0">
                  <c:v>1014.4248272413473</c:v>
                </c:pt>
                <c:pt idx="173" formatCode="0">
                  <c:v>1079.2753381139887</c:v>
                </c:pt>
                <c:pt idx="174" formatCode="0">
                  <c:v>1148.3913453168177</c:v>
                </c:pt>
                <c:pt idx="175" formatCode="0">
                  <c:v>1222.0048319835812</c:v>
                </c:pt>
                <c:pt idx="176" formatCode="0">
                  <c:v>1300.295397959761</c:v>
                </c:pt>
                <c:pt idx="177" formatCode="0">
                  <c:v>1383.4950263791038</c:v>
                </c:pt>
                <c:pt idx="178" formatCode="0">
                  <c:v>1471.8581503560426</c:v>
                </c:pt>
                <c:pt idx="179" formatCode="0">
                  <c:v>1565.8637028118608</c:v>
                </c:pt>
                <c:pt idx="180" formatCode="0">
                  <c:v>1665.9232667257872</c:v>
                </c:pt>
                <c:pt idx="181" formatCode="0">
                  <c:v>1772.4110084425752</c:v>
                </c:pt>
                <c:pt idx="182" formatCode="0">
                  <c:v>1885.6187777111329</c:v>
                </c:pt>
                <c:pt idx="183" formatCode="0">
                  <c:v>2005.9806074913733</c:v>
                </c:pt>
                <c:pt idx="184" formatCode="0">
                  <c:v>2133.952980723896</c:v>
                </c:pt>
                <c:pt idx="185" formatCode="0">
                  <c:v>2270.0746969451452</c:v>
                </c:pt>
                <c:pt idx="186" formatCode="0">
                  <c:v>2414.8920390184608</c:v>
                </c:pt>
                <c:pt idx="187" formatCode="0">
                  <c:v>2568.9288398264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D4C6-4CA2-937D-BBB2646D5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4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G$2:$G$250</c:f>
              <c:numCache>
                <c:formatCode>General</c:formatCode>
                <c:ptCount val="249"/>
                <c:pt idx="0">
                  <c:v>158</c:v>
                </c:pt>
                <c:pt idx="1">
                  <c:v>147</c:v>
                </c:pt>
                <c:pt idx="2">
                  <c:v>255</c:v>
                </c:pt>
                <c:pt idx="3">
                  <c:v>172</c:v>
                </c:pt>
                <c:pt idx="4">
                  <c:v>182</c:v>
                </c:pt>
                <c:pt idx="5">
                  <c:v>171</c:v>
                </c:pt>
                <c:pt idx="6">
                  <c:v>176</c:v>
                </c:pt>
                <c:pt idx="7">
                  <c:v>92</c:v>
                </c:pt>
                <c:pt idx="8">
                  <c:v>102</c:v>
                </c:pt>
                <c:pt idx="9">
                  <c:v>176</c:v>
                </c:pt>
                <c:pt idx="10">
                  <c:v>139</c:v>
                </c:pt>
                <c:pt idx="11">
                  <c:v>138</c:v>
                </c:pt>
                <c:pt idx="12">
                  <c:v>121</c:v>
                </c:pt>
                <c:pt idx="13">
                  <c:v>105</c:v>
                </c:pt>
                <c:pt idx="14">
                  <c:v>65</c:v>
                </c:pt>
                <c:pt idx="15">
                  <c:v>65</c:v>
                </c:pt>
                <c:pt idx="16">
                  <c:v>103</c:v>
                </c:pt>
                <c:pt idx="17">
                  <c:v>80</c:v>
                </c:pt>
                <c:pt idx="18">
                  <c:v>69</c:v>
                </c:pt>
                <c:pt idx="19">
                  <c:v>68</c:v>
                </c:pt>
                <c:pt idx="20">
                  <c:v>77</c:v>
                </c:pt>
                <c:pt idx="21">
                  <c:v>35</c:v>
                </c:pt>
                <c:pt idx="22">
                  <c:v>29</c:v>
                </c:pt>
                <c:pt idx="23">
                  <c:v>57</c:v>
                </c:pt>
                <c:pt idx="24">
                  <c:v>59</c:v>
                </c:pt>
                <c:pt idx="25">
                  <c:v>61</c:v>
                </c:pt>
                <c:pt idx="26">
                  <c:v>38</c:v>
                </c:pt>
                <c:pt idx="27">
                  <c:v>40</c:v>
                </c:pt>
                <c:pt idx="28">
                  <c:v>19</c:v>
                </c:pt>
                <c:pt idx="29">
                  <c:v>27</c:v>
                </c:pt>
                <c:pt idx="30">
                  <c:v>41</c:v>
                </c:pt>
                <c:pt idx="31">
                  <c:v>28</c:v>
                </c:pt>
                <c:pt idx="32">
                  <c:v>38</c:v>
                </c:pt>
                <c:pt idx="33">
                  <c:v>20</c:v>
                </c:pt>
                <c:pt idx="34">
                  <c:v>28</c:v>
                </c:pt>
                <c:pt idx="35">
                  <c:v>15</c:v>
                </c:pt>
                <c:pt idx="36">
                  <c:v>12</c:v>
                </c:pt>
                <c:pt idx="37">
                  <c:v>14</c:v>
                </c:pt>
                <c:pt idx="38">
                  <c:v>23</c:v>
                </c:pt>
                <c:pt idx="39">
                  <c:v>15</c:v>
                </c:pt>
                <c:pt idx="40">
                  <c:v>18</c:v>
                </c:pt>
                <c:pt idx="41">
                  <c:v>10</c:v>
                </c:pt>
                <c:pt idx="42">
                  <c:v>8</c:v>
                </c:pt>
                <c:pt idx="43">
                  <c:v>5</c:v>
                </c:pt>
                <c:pt idx="44">
                  <c:v>9</c:v>
                </c:pt>
                <c:pt idx="45">
                  <c:v>9</c:v>
                </c:pt>
                <c:pt idx="46">
                  <c:v>6</c:v>
                </c:pt>
                <c:pt idx="47">
                  <c:v>24</c:v>
                </c:pt>
                <c:pt idx="48">
                  <c:v>8</c:v>
                </c:pt>
                <c:pt idx="49">
                  <c:v>10</c:v>
                </c:pt>
                <c:pt idx="50">
                  <c:v>2</c:v>
                </c:pt>
                <c:pt idx="51">
                  <c:v>8</c:v>
                </c:pt>
                <c:pt idx="52">
                  <c:v>7</c:v>
                </c:pt>
                <c:pt idx="53">
                  <c:v>7</c:v>
                </c:pt>
                <c:pt idx="54">
                  <c:v>4</c:v>
                </c:pt>
                <c:pt idx="55">
                  <c:v>6</c:v>
                </c:pt>
                <c:pt idx="56">
                  <c:v>2</c:v>
                </c:pt>
                <c:pt idx="57">
                  <c:v>2</c:v>
                </c:pt>
                <c:pt idx="58">
                  <c:v>7</c:v>
                </c:pt>
                <c:pt idx="59">
                  <c:v>2</c:v>
                </c:pt>
                <c:pt idx="60">
                  <c:v>10</c:v>
                </c:pt>
                <c:pt idx="61">
                  <c:v>4</c:v>
                </c:pt>
                <c:pt idx="62">
                  <c:v>2</c:v>
                </c:pt>
                <c:pt idx="63">
                  <c:v>2</c:v>
                </c:pt>
                <c:pt idx="64">
                  <c:v>3</c:v>
                </c:pt>
                <c:pt idx="65">
                  <c:v>2</c:v>
                </c:pt>
                <c:pt idx="67">
                  <c:v>8</c:v>
                </c:pt>
                <c:pt idx="68">
                  <c:v>4</c:v>
                </c:pt>
                <c:pt idx="69">
                  <c:v>5</c:v>
                </c:pt>
                <c:pt idx="70">
                  <c:v>3</c:v>
                </c:pt>
                <c:pt idx="71">
                  <c:v>5</c:v>
                </c:pt>
                <c:pt idx="72">
                  <c:v>8</c:v>
                </c:pt>
                <c:pt idx="74">
                  <c:v>5</c:v>
                </c:pt>
                <c:pt idx="75">
                  <c:v>6</c:v>
                </c:pt>
                <c:pt idx="76">
                  <c:v>6</c:v>
                </c:pt>
                <c:pt idx="77">
                  <c:v>4</c:v>
                </c:pt>
                <c:pt idx="78">
                  <c:v>2</c:v>
                </c:pt>
                <c:pt idx="79">
                  <c:v>10</c:v>
                </c:pt>
                <c:pt idx="80">
                  <c:v>5</c:v>
                </c:pt>
                <c:pt idx="81">
                  <c:v>6</c:v>
                </c:pt>
                <c:pt idx="82">
                  <c:v>6</c:v>
                </c:pt>
                <c:pt idx="83">
                  <c:v>5</c:v>
                </c:pt>
                <c:pt idx="84">
                  <c:v>6</c:v>
                </c:pt>
                <c:pt idx="85">
                  <c:v>8</c:v>
                </c:pt>
                <c:pt idx="86">
                  <c:v>14</c:v>
                </c:pt>
                <c:pt idx="87">
                  <c:v>3</c:v>
                </c:pt>
                <c:pt idx="88">
                  <c:v>7</c:v>
                </c:pt>
                <c:pt idx="89">
                  <c:v>11</c:v>
                </c:pt>
                <c:pt idx="90">
                  <c:v>4</c:v>
                </c:pt>
                <c:pt idx="91">
                  <c:v>5</c:v>
                </c:pt>
                <c:pt idx="92">
                  <c:v>4</c:v>
                </c:pt>
                <c:pt idx="93">
                  <c:v>9</c:v>
                </c:pt>
                <c:pt idx="94">
                  <c:v>3</c:v>
                </c:pt>
                <c:pt idx="95">
                  <c:v>12</c:v>
                </c:pt>
                <c:pt idx="96">
                  <c:v>3</c:v>
                </c:pt>
                <c:pt idx="97">
                  <c:v>9</c:v>
                </c:pt>
                <c:pt idx="98">
                  <c:v>6</c:v>
                </c:pt>
                <c:pt idx="99">
                  <c:v>2</c:v>
                </c:pt>
                <c:pt idx="100">
                  <c:v>7</c:v>
                </c:pt>
                <c:pt idx="101">
                  <c:v>7</c:v>
                </c:pt>
                <c:pt idx="102">
                  <c:v>7</c:v>
                </c:pt>
                <c:pt idx="103">
                  <c:v>5</c:v>
                </c:pt>
                <c:pt idx="104">
                  <c:v>6</c:v>
                </c:pt>
                <c:pt idx="105">
                  <c:v>9</c:v>
                </c:pt>
                <c:pt idx="106">
                  <c:v>5</c:v>
                </c:pt>
                <c:pt idx="107">
                  <c:v>10</c:v>
                </c:pt>
                <c:pt idx="108">
                  <c:v>7</c:v>
                </c:pt>
                <c:pt idx="109">
                  <c:v>9</c:v>
                </c:pt>
                <c:pt idx="110">
                  <c:v>10</c:v>
                </c:pt>
                <c:pt idx="111">
                  <c:v>10</c:v>
                </c:pt>
                <c:pt idx="112">
                  <c:v>6</c:v>
                </c:pt>
                <c:pt idx="113">
                  <c:v>6</c:v>
                </c:pt>
                <c:pt idx="114">
                  <c:v>8</c:v>
                </c:pt>
                <c:pt idx="115">
                  <c:v>11</c:v>
                </c:pt>
                <c:pt idx="116">
                  <c:v>10</c:v>
                </c:pt>
                <c:pt idx="117">
                  <c:v>7</c:v>
                </c:pt>
                <c:pt idx="118">
                  <c:v>7</c:v>
                </c:pt>
                <c:pt idx="119">
                  <c:v>5</c:v>
                </c:pt>
                <c:pt idx="120">
                  <c:v>3</c:v>
                </c:pt>
                <c:pt idx="121">
                  <c:v>4</c:v>
                </c:pt>
                <c:pt idx="122">
                  <c:v>9</c:v>
                </c:pt>
                <c:pt idx="123">
                  <c:v>15</c:v>
                </c:pt>
                <c:pt idx="124">
                  <c:v>10</c:v>
                </c:pt>
                <c:pt idx="125">
                  <c:v>14</c:v>
                </c:pt>
                <c:pt idx="126">
                  <c:v>7</c:v>
                </c:pt>
                <c:pt idx="127">
                  <c:v>10</c:v>
                </c:pt>
                <c:pt idx="128">
                  <c:v>17</c:v>
                </c:pt>
                <c:pt idx="129">
                  <c:v>13</c:v>
                </c:pt>
                <c:pt idx="130">
                  <c:v>15</c:v>
                </c:pt>
                <c:pt idx="131">
                  <c:v>16</c:v>
                </c:pt>
                <c:pt idx="132">
                  <c:v>13</c:v>
                </c:pt>
                <c:pt idx="133">
                  <c:v>12</c:v>
                </c:pt>
                <c:pt idx="134">
                  <c:v>17</c:v>
                </c:pt>
                <c:pt idx="135">
                  <c:v>29</c:v>
                </c:pt>
                <c:pt idx="136">
                  <c:v>25</c:v>
                </c:pt>
                <c:pt idx="137">
                  <c:v>17</c:v>
                </c:pt>
                <c:pt idx="138">
                  <c:v>19</c:v>
                </c:pt>
                <c:pt idx="139">
                  <c:v>31</c:v>
                </c:pt>
                <c:pt idx="140">
                  <c:v>9</c:v>
                </c:pt>
                <c:pt idx="141">
                  <c:v>14</c:v>
                </c:pt>
                <c:pt idx="142">
                  <c:v>23</c:v>
                </c:pt>
                <c:pt idx="143">
                  <c:v>19</c:v>
                </c:pt>
                <c:pt idx="144">
                  <c:v>17</c:v>
                </c:pt>
                <c:pt idx="145">
                  <c:v>21</c:v>
                </c:pt>
                <c:pt idx="146">
                  <c:v>27</c:v>
                </c:pt>
                <c:pt idx="147">
                  <c:v>20</c:v>
                </c:pt>
                <c:pt idx="148">
                  <c:v>16</c:v>
                </c:pt>
                <c:pt idx="149">
                  <c:v>34</c:v>
                </c:pt>
                <c:pt idx="150">
                  <c:v>16</c:v>
                </c:pt>
                <c:pt idx="151">
                  <c:v>36</c:v>
                </c:pt>
                <c:pt idx="152">
                  <c:v>32</c:v>
                </c:pt>
                <c:pt idx="153">
                  <c:v>31</c:v>
                </c:pt>
                <c:pt idx="154">
                  <c:v>27</c:v>
                </c:pt>
                <c:pt idx="155">
                  <c:v>25</c:v>
                </c:pt>
                <c:pt idx="156">
                  <c:v>53</c:v>
                </c:pt>
                <c:pt idx="157">
                  <c:v>40</c:v>
                </c:pt>
                <c:pt idx="158">
                  <c:v>53</c:v>
                </c:pt>
                <c:pt idx="159">
                  <c:v>39</c:v>
                </c:pt>
                <c:pt idx="160">
                  <c:v>51</c:v>
                </c:pt>
                <c:pt idx="161">
                  <c:v>30</c:v>
                </c:pt>
                <c:pt idx="162">
                  <c:v>34</c:v>
                </c:pt>
                <c:pt idx="163">
                  <c:v>80</c:v>
                </c:pt>
                <c:pt idx="164">
                  <c:v>62</c:v>
                </c:pt>
                <c:pt idx="165">
                  <c:v>63</c:v>
                </c:pt>
                <c:pt idx="166">
                  <c:v>57</c:v>
                </c:pt>
                <c:pt idx="167">
                  <c:v>82</c:v>
                </c:pt>
                <c:pt idx="168">
                  <c:v>70</c:v>
                </c:pt>
                <c:pt idx="169">
                  <c:v>50</c:v>
                </c:pt>
                <c:pt idx="170">
                  <c:v>133</c:v>
                </c:pt>
                <c:pt idx="171">
                  <c:v>142</c:v>
                </c:pt>
                <c:pt idx="172">
                  <c:v>117</c:v>
                </c:pt>
                <c:pt idx="173">
                  <c:v>122</c:v>
                </c:pt>
                <c:pt idx="174">
                  <c:v>159</c:v>
                </c:pt>
                <c:pt idx="175">
                  <c:v>112</c:v>
                </c:pt>
                <c:pt idx="176">
                  <c:v>110</c:v>
                </c:pt>
                <c:pt idx="177">
                  <c:v>216</c:v>
                </c:pt>
                <c:pt idx="178">
                  <c:v>261</c:v>
                </c:pt>
                <c:pt idx="179">
                  <c:v>239</c:v>
                </c:pt>
                <c:pt idx="180">
                  <c:v>169</c:v>
                </c:pt>
                <c:pt idx="181">
                  <c:v>270</c:v>
                </c:pt>
                <c:pt idx="182">
                  <c:v>189</c:v>
                </c:pt>
                <c:pt idx="183">
                  <c:v>203</c:v>
                </c:pt>
                <c:pt idx="184">
                  <c:v>411</c:v>
                </c:pt>
                <c:pt idx="185">
                  <c:v>392</c:v>
                </c:pt>
                <c:pt idx="186">
                  <c:v>382</c:v>
                </c:pt>
                <c:pt idx="187">
                  <c:v>385</c:v>
                </c:pt>
                <c:pt idx="188">
                  <c:v>351</c:v>
                </c:pt>
                <c:pt idx="189">
                  <c:v>280</c:v>
                </c:pt>
                <c:pt idx="190">
                  <c:v>278</c:v>
                </c:pt>
                <c:pt idx="191">
                  <c:v>536</c:v>
                </c:pt>
                <c:pt idx="192">
                  <c:v>535</c:v>
                </c:pt>
                <c:pt idx="193">
                  <c:v>464</c:v>
                </c:pt>
                <c:pt idx="194">
                  <c:v>491</c:v>
                </c:pt>
                <c:pt idx="195">
                  <c:v>530</c:v>
                </c:pt>
                <c:pt idx="196">
                  <c:v>376</c:v>
                </c:pt>
                <c:pt idx="197">
                  <c:v>342</c:v>
                </c:pt>
                <c:pt idx="198">
                  <c:v>727</c:v>
                </c:pt>
                <c:pt idx="199">
                  <c:v>642</c:v>
                </c:pt>
                <c:pt idx="200">
                  <c:v>475</c:v>
                </c:pt>
                <c:pt idx="201">
                  <c:v>637</c:v>
                </c:pt>
                <c:pt idx="202">
                  <c:v>689</c:v>
                </c:pt>
                <c:pt idx="203">
                  <c:v>494</c:v>
                </c:pt>
                <c:pt idx="204">
                  <c:v>490</c:v>
                </c:pt>
                <c:pt idx="205">
                  <c:v>837</c:v>
                </c:pt>
                <c:pt idx="206">
                  <c:v>732</c:v>
                </c:pt>
                <c:pt idx="207">
                  <c:v>689</c:v>
                </c:pt>
                <c:pt idx="208">
                  <c:v>676</c:v>
                </c:pt>
                <c:pt idx="209">
                  <c:v>652</c:v>
                </c:pt>
                <c:pt idx="210">
                  <c:v>3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A7-4D9A-8C9E-78CAA4FB84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rgbClr val="C00000"/>
              </a:solidFill>
              <a:prstDash val="sysDot"/>
              <a:round/>
            </a:ln>
            <a:effectLst/>
          </c:spPr>
          <c:marker>
            <c:symbol val="none"/>
          </c:marker>
          <c:val>
            <c:numRef>
              <c:f>Sheet1!$E$2:$E$250</c:f>
              <c:numCache>
                <c:formatCode>General</c:formatCode>
                <c:ptCount val="249"/>
                <c:pt idx="0">
                  <c:v>139.65993792819791</c:v>
                </c:pt>
                <c:pt idx="1">
                  <c:v>137.08635260959272</c:v>
                </c:pt>
                <c:pt idx="2">
                  <c:v>133.27637078842963</c:v>
                </c:pt>
                <c:pt idx="3">
                  <c:v>129.35409554172656</c:v>
                </c:pt>
                <c:pt idx="4">
                  <c:v>124.332784227925</c:v>
                </c:pt>
                <c:pt idx="5">
                  <c:v>119.09084387710027</c:v>
                </c:pt>
                <c:pt idx="6">
                  <c:v>114.59973425243516</c:v>
                </c:pt>
                <c:pt idx="7">
                  <c:v>110.27716167934705</c:v>
                </c:pt>
                <c:pt idx="8">
                  <c:v>105.71297996758949</c:v>
                </c:pt>
                <c:pt idx="9">
                  <c:v>101.26732064466341</c:v>
                </c:pt>
                <c:pt idx="10">
                  <c:v>97.314880390360486</c:v>
                </c:pt>
                <c:pt idx="11">
                  <c:v>93.338850519794505</c:v>
                </c:pt>
                <c:pt idx="12">
                  <c:v>89.15481833240483</c:v>
                </c:pt>
                <c:pt idx="13">
                  <c:v>85.302967474155594</c:v>
                </c:pt>
                <c:pt idx="14">
                  <c:v>82.0170131775958</c:v>
                </c:pt>
                <c:pt idx="15">
                  <c:v>78.467502174346009</c:v>
                </c:pt>
                <c:pt idx="16">
                  <c:v>75.078432513808366</c:v>
                </c:pt>
                <c:pt idx="17">
                  <c:v>71.766382134228479</c:v>
                </c:pt>
                <c:pt idx="18">
                  <c:v>68.17018428479787</c:v>
                </c:pt>
                <c:pt idx="19">
                  <c:v>64.477729284815723</c:v>
                </c:pt>
                <c:pt idx="20">
                  <c:v>60.878049029764952</c:v>
                </c:pt>
                <c:pt idx="21">
                  <c:v>57.535300651710713</c:v>
                </c:pt>
                <c:pt idx="22">
                  <c:v>54.314253830176312</c:v>
                </c:pt>
                <c:pt idx="23">
                  <c:v>51.120821735326899</c:v>
                </c:pt>
                <c:pt idx="24">
                  <c:v>48.110979723016499</c:v>
                </c:pt>
                <c:pt idx="25">
                  <c:v>45.263314949785126</c:v>
                </c:pt>
                <c:pt idx="26">
                  <c:v>42.570709502528189</c:v>
                </c:pt>
                <c:pt idx="27">
                  <c:v>40.020233393122908</c:v>
                </c:pt>
                <c:pt idx="28">
                  <c:v>37.605433053628076</c:v>
                </c:pt>
                <c:pt idx="29">
                  <c:v>35.326144520222442</c:v>
                </c:pt>
                <c:pt idx="30">
                  <c:v>33.178998366987798</c:v>
                </c:pt>
                <c:pt idx="31">
                  <c:v>31.153645326907281</c:v>
                </c:pt>
                <c:pt idx="32">
                  <c:v>29.242548940703273</c:v>
                </c:pt>
                <c:pt idx="33">
                  <c:v>27.437910032342188</c:v>
                </c:pt>
                <c:pt idx="34">
                  <c:v>25.73203517193906</c:v>
                </c:pt>
                <c:pt idx="35">
                  <c:v>24.119329324545106</c:v>
                </c:pt>
                <c:pt idx="36">
                  <c:v>22.597655225399649</c:v>
                </c:pt>
                <c:pt idx="37">
                  <c:v>21.166233477066271</c:v>
                </c:pt>
                <c:pt idx="38">
                  <c:v>19.932986658095615</c:v>
                </c:pt>
                <c:pt idx="39">
                  <c:v>18.850491471472196</c:v>
                </c:pt>
                <c:pt idx="40">
                  <c:v>17.877157486393116</c:v>
                </c:pt>
                <c:pt idx="41">
                  <c:v>16.985778584465152</c:v>
                </c:pt>
                <c:pt idx="42">
                  <c:v>16.161150507803541</c:v>
                </c:pt>
                <c:pt idx="43">
                  <c:v>15.39957051849342</c:v>
                </c:pt>
                <c:pt idx="44">
                  <c:v>14.700013206282165</c:v>
                </c:pt>
                <c:pt idx="45">
                  <c:v>14.052764540945645</c:v>
                </c:pt>
                <c:pt idx="46">
                  <c:v>13.450227428314975</c:v>
                </c:pt>
                <c:pt idx="47">
                  <c:v>12.883896550512873</c:v>
                </c:pt>
                <c:pt idx="48">
                  <c:v>12.347935659170616</c:v>
                </c:pt>
                <c:pt idx="49">
                  <c:v>11.83944315550616</c:v>
                </c:pt>
                <c:pt idx="50">
                  <c:v>11.359310383035336</c:v>
                </c:pt>
                <c:pt idx="51">
                  <c:v>10.908419969491661</c:v>
                </c:pt>
                <c:pt idx="52">
                  <c:v>10.482358451845357</c:v>
                </c:pt>
                <c:pt idx="53">
                  <c:v>10.076573088153964</c:v>
                </c:pt>
                <c:pt idx="54">
                  <c:v>9.6882868957472965</c:v>
                </c:pt>
                <c:pt idx="55">
                  <c:v>9.3149495795951225</c:v>
                </c:pt>
                <c:pt idx="56">
                  <c:v>8.9555687728861813</c:v>
                </c:pt>
                <c:pt idx="57">
                  <c:v>8.6121411337226164</c:v>
                </c:pt>
                <c:pt idx="58">
                  <c:v>8.3627865586895496</c:v>
                </c:pt>
                <c:pt idx="59">
                  <c:v>8.2490853264462203</c:v>
                </c:pt>
                <c:pt idx="60">
                  <c:v>8.2231420744210482</c:v>
                </c:pt>
                <c:pt idx="61">
                  <c:v>8.2487806382996496</c:v>
                </c:pt>
                <c:pt idx="62">
                  <c:v>8.3041043518751394</c:v>
                </c:pt>
                <c:pt idx="63">
                  <c:v>8.3764497038209811</c:v>
                </c:pt>
                <c:pt idx="64">
                  <c:v>8.4616787693812512</c:v>
                </c:pt>
                <c:pt idx="65">
                  <c:v>8.5571567183651496</c:v>
                </c:pt>
                <c:pt idx="66">
                  <c:v>8.6582926634582691</c:v>
                </c:pt>
                <c:pt idx="67">
                  <c:v>8.7601519718882628</c:v>
                </c:pt>
                <c:pt idx="68">
                  <c:v>8.8588262627599761</c:v>
                </c:pt>
                <c:pt idx="69">
                  <c:v>8.977369830099633</c:v>
                </c:pt>
                <c:pt idx="70">
                  <c:v>9.1073047791433055</c:v>
                </c:pt>
                <c:pt idx="71">
                  <c:v>9.2387895193533041</c:v>
                </c:pt>
                <c:pt idx="72">
                  <c:v>9.3665363434993196</c:v>
                </c:pt>
                <c:pt idx="73">
                  <c:v>9.4863475258462131</c:v>
                </c:pt>
                <c:pt idx="74">
                  <c:v>9.5946482936269604</c:v>
                </c:pt>
                <c:pt idx="75">
                  <c:v>9.6873885850363877</c:v>
                </c:pt>
                <c:pt idx="76">
                  <c:v>9.7619893636147026</c:v>
                </c:pt>
                <c:pt idx="77">
                  <c:v>9.8184310720534995</c:v>
                </c:pt>
                <c:pt idx="78">
                  <c:v>9.8585865728382487</c:v>
                </c:pt>
                <c:pt idx="79">
                  <c:v>9.8845565306546632</c:v>
                </c:pt>
                <c:pt idx="80">
                  <c:v>9.8966848229756579</c:v>
                </c:pt>
                <c:pt idx="81">
                  <c:v>9.894661766680656</c:v>
                </c:pt>
                <c:pt idx="82">
                  <c:v>9.8783229951804969</c:v>
                </c:pt>
                <c:pt idx="83">
                  <c:v>9.8480787457956467</c:v>
                </c:pt>
                <c:pt idx="84">
                  <c:v>9.8049308377958369</c:v>
                </c:pt>
                <c:pt idx="85">
                  <c:v>9.7514291248808149</c:v>
                </c:pt>
                <c:pt idx="86">
                  <c:v>9.689556294324575</c:v>
                </c:pt>
                <c:pt idx="87">
                  <c:v>9.6191558500868268</c:v>
                </c:pt>
                <c:pt idx="88">
                  <c:v>9.5400273053091951</c:v>
                </c:pt>
                <c:pt idx="89">
                  <c:v>9.4521548709017225</c:v>
                </c:pt>
                <c:pt idx="90">
                  <c:v>9.3559003158006817</c:v>
                </c:pt>
                <c:pt idx="91">
                  <c:v>9.2522491502168123</c:v>
                </c:pt>
                <c:pt idx="92">
                  <c:v>9.1426639756828081</c:v>
                </c:pt>
                <c:pt idx="93">
                  <c:v>9.0283867571270093</c:v>
                </c:pt>
                <c:pt idx="94">
                  <c:v>8.90933048754232</c:v>
                </c:pt>
                <c:pt idx="95">
                  <c:v>8.7852924233302474</c:v>
                </c:pt>
                <c:pt idx="96">
                  <c:v>8.6563643725239672</c:v>
                </c:pt>
                <c:pt idx="97">
                  <c:v>8.5228526107675862</c:v>
                </c:pt>
                <c:pt idx="98">
                  <c:v>8.3852893574221525</c:v>
                </c:pt>
                <c:pt idx="99">
                  <c:v>8.2447583361936267</c:v>
                </c:pt>
                <c:pt idx="100">
                  <c:v>8.199109719338594</c:v>
                </c:pt>
                <c:pt idx="101">
                  <c:v>8.2201315871207044</c:v>
                </c:pt>
                <c:pt idx="102">
                  <c:v>8.2809232457366306</c:v>
                </c:pt>
                <c:pt idx="103">
                  <c:v>8.3666473571502138</c:v>
                </c:pt>
                <c:pt idx="104">
                  <c:v>8.4688029038952664</c:v>
                </c:pt>
                <c:pt idx="105">
                  <c:v>8.5830369594623335</c:v>
                </c:pt>
                <c:pt idx="106">
                  <c:v>8.7081534798780922</c:v>
                </c:pt>
                <c:pt idx="107">
                  <c:v>8.8425129036186263</c:v>
                </c:pt>
                <c:pt idx="108">
                  <c:v>8.9840597430884372</c:v>
                </c:pt>
                <c:pt idx="109">
                  <c:v>9.1294293746759649</c:v>
                </c:pt>
                <c:pt idx="110">
                  <c:v>9.2764987041882705</c:v>
                </c:pt>
                <c:pt idx="111">
                  <c:v>9.4241899214976002</c:v>
                </c:pt>
                <c:pt idx="112">
                  <c:v>9.5706246052577626</c:v>
                </c:pt>
                <c:pt idx="113">
                  <c:v>9.715997125080321</c:v>
                </c:pt>
                <c:pt idx="114">
                  <c:v>9.8604286588379182</c:v>
                </c:pt>
                <c:pt idx="115">
                  <c:v>10.002605269546621</c:v>
                </c:pt>
                <c:pt idx="116">
                  <c:v>10.141966385301203</c:v>
                </c:pt>
                <c:pt idx="117">
                  <c:v>10.277410079492256</c:v>
                </c:pt>
                <c:pt idx="118">
                  <c:v>10.408253558445722</c:v>
                </c:pt>
                <c:pt idx="119">
                  <c:v>10.534401607961627</c:v>
                </c:pt>
                <c:pt idx="120">
                  <c:v>10.656422225612914</c:v>
                </c:pt>
                <c:pt idx="121">
                  <c:v>10.774824179679854</c:v>
                </c:pt>
                <c:pt idx="122">
                  <c:v>10.889145150169497</c:v>
                </c:pt>
                <c:pt idx="123">
                  <c:v>10.998710984771606</c:v>
                </c:pt>
                <c:pt idx="124">
                  <c:v>11.103197678457946</c:v>
                </c:pt>
                <c:pt idx="125">
                  <c:v>11.202558774675708</c:v>
                </c:pt>
                <c:pt idx="126">
                  <c:v>11.297057176823728</c:v>
                </c:pt>
                <c:pt idx="127">
                  <c:v>11.387338692264166</c:v>
                </c:pt>
                <c:pt idx="128">
                  <c:v>11.473910518776393</c:v>
                </c:pt>
                <c:pt idx="129">
                  <c:v>11.556496536766645</c:v>
                </c:pt>
                <c:pt idx="130">
                  <c:v>11.634940046729753</c:v>
                </c:pt>
                <c:pt idx="131">
                  <c:v>11.789519763085991</c:v>
                </c:pt>
                <c:pt idx="132">
                  <c:v>12.000131232023705</c:v>
                </c:pt>
                <c:pt idx="133">
                  <c:v>12.257591494097142</c:v>
                </c:pt>
                <c:pt idx="134">
                  <c:v>12.560999586654361</c:v>
                </c:pt>
                <c:pt idx="135">
                  <c:v>12.913224306248594</c:v>
                </c:pt>
                <c:pt idx="136">
                  <c:v>13.31921128774411</c:v>
                </c:pt>
                <c:pt idx="137">
                  <c:v>13.783173243311467</c:v>
                </c:pt>
                <c:pt idx="138">
                  <c:v>14.307547685195459</c:v>
                </c:pt>
                <c:pt idx="139">
                  <c:v>14.894133341440465</c:v>
                </c:pt>
                <c:pt idx="140">
                  <c:v>15.542985092848539</c:v>
                </c:pt>
                <c:pt idx="141">
                  <c:v>16.254943119827658</c:v>
                </c:pt>
                <c:pt idx="142">
                  <c:v>17.030695225315867</c:v>
                </c:pt>
                <c:pt idx="143">
                  <c:v>17.869556388817728</c:v>
                </c:pt>
                <c:pt idx="144">
                  <c:v>18.772447630559327</c:v>
                </c:pt>
                <c:pt idx="145">
                  <c:v>19.740583779552253</c:v>
                </c:pt>
                <c:pt idx="146">
                  <c:v>20.774975642969366</c:v>
                </c:pt>
                <c:pt idx="147">
                  <c:v>21.87740477497573</c:v>
                </c:pt>
                <c:pt idx="148">
                  <c:v>23.050236640818184</c:v>
                </c:pt>
                <c:pt idx="149">
                  <c:v>24.296296318963869</c:v>
                </c:pt>
                <c:pt idx="150">
                  <c:v>25.617793415614869</c:v>
                </c:pt>
                <c:pt idx="151">
                  <c:v>27.017247312091058</c:v>
                </c:pt>
                <c:pt idx="152">
                  <c:v>28.497771733935224</c:v>
                </c:pt>
                <c:pt idx="153">
                  <c:v>30.062669822684256</c:v>
                </c:pt>
                <c:pt idx="154">
                  <c:v>31.715035938075744</c:v>
                </c:pt>
                <c:pt idx="155">
                  <c:v>33.459573211846873</c:v>
                </c:pt>
                <c:pt idx="156">
                  <c:v>35.301124651916325</c:v>
                </c:pt>
                <c:pt idx="157">
                  <c:v>37.243908091157209</c:v>
                </c:pt>
                <c:pt idx="158">
                  <c:v>39.293128430639626</c:v>
                </c:pt>
                <c:pt idx="159">
                  <c:v>41.452640841685934</c:v>
                </c:pt>
                <c:pt idx="160">
                  <c:v>43.726664459769381</c:v>
                </c:pt>
                <c:pt idx="161">
                  <c:v>46.699616967729526</c:v>
                </c:pt>
                <c:pt idx="162">
                  <c:v>50.255035330337705</c:v>
                </c:pt>
                <c:pt idx="163">
                  <c:v>54.301263847301016</c:v>
                </c:pt>
                <c:pt idx="164">
                  <c:v>58.809236360830255</c:v>
                </c:pt>
                <c:pt idx="165">
                  <c:v>63.782991730578942</c:v>
                </c:pt>
                <c:pt idx="166">
                  <c:v>69.248410782311112</c:v>
                </c:pt>
                <c:pt idx="167">
                  <c:v>75.243163278530119</c:v>
                </c:pt>
                <c:pt idx="168">
                  <c:v>81.803310332237743</c:v>
                </c:pt>
                <c:pt idx="169">
                  <c:v>88.974082772358088</c:v>
                </c:pt>
                <c:pt idx="170">
                  <c:v>96.794851875049062</c:v>
                </c:pt>
                <c:pt idx="171">
                  <c:v>105.31008431513328</c:v>
                </c:pt>
                <c:pt idx="172">
                  <c:v>113.33843145798892</c:v>
                </c:pt>
                <c:pt idx="173">
                  <c:v>121.38585787359625</c:v>
                </c:pt>
                <c:pt idx="174">
                  <c:v>132.29397234524367</c:v>
                </c:pt>
                <c:pt idx="175">
                  <c:v>144.19987308004056</c:v>
                </c:pt>
                <c:pt idx="176">
                  <c:v>157.5478465463093</c:v>
                </c:pt>
                <c:pt idx="177">
                  <c:v>172.25912581081502</c:v>
                </c:pt>
                <c:pt idx="178">
                  <c:v>188.16455705446424</c:v>
                </c:pt>
                <c:pt idx="179">
                  <c:v>204.54459600689006</c:v>
                </c:pt>
                <c:pt idx="180">
                  <c:v>222.03959923732327</c:v>
                </c:pt>
                <c:pt idx="181">
                  <c:v>241.51018786805798</c:v>
                </c:pt>
                <c:pt idx="182">
                  <c:v>261.98311972533702</c:v>
                </c:pt>
                <c:pt idx="183">
                  <c:v>283.88429763403838</c:v>
                </c:pt>
                <c:pt idx="184">
                  <c:v>304.67541874748537</c:v>
                </c:pt>
                <c:pt idx="185">
                  <c:v>320.83788530975113</c:v>
                </c:pt>
                <c:pt idx="186">
                  <c:v>333.89899189349876</c:v>
                </c:pt>
                <c:pt idx="187">
                  <c:v>344.85885096042415</c:v>
                </c:pt>
                <c:pt idx="188">
                  <c:v>354.46244870055813</c:v>
                </c:pt>
                <c:pt idx="189">
                  <c:v>371.14858400691298</c:v>
                </c:pt>
                <c:pt idx="190">
                  <c:v>387.20125306527888</c:v>
                </c:pt>
                <c:pt idx="191">
                  <c:v>402.78535078050567</c:v>
                </c:pt>
                <c:pt idx="192">
                  <c:v>418.25790237529753</c:v>
                </c:pt>
                <c:pt idx="193">
                  <c:v>433.25731604191242</c:v>
                </c:pt>
                <c:pt idx="194">
                  <c:v>447.79049163791325</c:v>
                </c:pt>
                <c:pt idx="195">
                  <c:v>455.25428900000043</c:v>
                </c:pt>
                <c:pt idx="196">
                  <c:v>471.67200000000048</c:v>
                </c:pt>
                <c:pt idx="197">
                  <c:v>489.23733999999968</c:v>
                </c:pt>
                <c:pt idx="198">
                  <c:v>509.62957099999949</c:v>
                </c:pt>
                <c:pt idx="199">
                  <c:v>531.42660000000069</c:v>
                </c:pt>
                <c:pt idx="200">
                  <c:v>551.48493999999846</c:v>
                </c:pt>
                <c:pt idx="201">
                  <c:v>572.26369000000159</c:v>
                </c:pt>
                <c:pt idx="202">
                  <c:v>591.83014000000003</c:v>
                </c:pt>
                <c:pt idx="203">
                  <c:v>611.09727999999996</c:v>
                </c:pt>
                <c:pt idx="204">
                  <c:v>631.99007999999958</c:v>
                </c:pt>
                <c:pt idx="205">
                  <c:v>651.73645000000033</c:v>
                </c:pt>
                <c:pt idx="206">
                  <c:v>671.68509999999878</c:v>
                </c:pt>
                <c:pt idx="207">
                  <c:v>693.36921000000075</c:v>
                </c:pt>
                <c:pt idx="208">
                  <c:v>713.41633999999976</c:v>
                </c:pt>
                <c:pt idx="209">
                  <c:v>733.05318999999872</c:v>
                </c:pt>
                <c:pt idx="210">
                  <c:v>753.34457000000111</c:v>
                </c:pt>
                <c:pt idx="211">
                  <c:v>772.86756999999852</c:v>
                </c:pt>
                <c:pt idx="212">
                  <c:v>791.68206000000282</c:v>
                </c:pt>
                <c:pt idx="213">
                  <c:v>810.55488999999943</c:v>
                </c:pt>
                <c:pt idx="214">
                  <c:v>829.12952999999834</c:v>
                </c:pt>
                <c:pt idx="215">
                  <c:v>846.60009999999966</c:v>
                </c:pt>
                <c:pt idx="216">
                  <c:v>863.20496000000276</c:v>
                </c:pt>
                <c:pt idx="217">
                  <c:v>879.44904999999926</c:v>
                </c:pt>
                <c:pt idx="218">
                  <c:v>894.21519999999873</c:v>
                </c:pt>
                <c:pt idx="219">
                  <c:v>908.18023000000176</c:v>
                </c:pt>
                <c:pt idx="220">
                  <c:v>921.83145999999761</c:v>
                </c:pt>
                <c:pt idx="221">
                  <c:v>933.67165999999997</c:v>
                </c:pt>
                <c:pt idx="222">
                  <c:v>944.54227000000174</c:v>
                </c:pt>
                <c:pt idx="223">
                  <c:v>954.18095999999787</c:v>
                </c:pt>
                <c:pt idx="224">
                  <c:v>962.53248000000167</c:v>
                </c:pt>
                <c:pt idx="225">
                  <c:v>969.56682999999975</c:v>
                </c:pt>
                <c:pt idx="226">
                  <c:v>975.25816000000123</c:v>
                </c:pt>
                <c:pt idx="227">
                  <c:v>979.57845000000088</c:v>
                </c:pt>
                <c:pt idx="228">
                  <c:v>982.50533999999607</c:v>
                </c:pt>
                <c:pt idx="229">
                  <c:v>984.02468000000226</c:v>
                </c:pt>
                <c:pt idx="230">
                  <c:v>984.13044000000082</c:v>
                </c:pt>
                <c:pt idx="231">
                  <c:v>982.82654999999795</c:v>
                </c:pt>
                <c:pt idx="232">
                  <c:v>980.12531999999919</c:v>
                </c:pt>
                <c:pt idx="233">
                  <c:v>976.04605000000447</c:v>
                </c:pt>
                <c:pt idx="234">
                  <c:v>970.61496999999508</c:v>
                </c:pt>
                <c:pt idx="235">
                  <c:v>963.86471000000165</c:v>
                </c:pt>
                <c:pt idx="236">
                  <c:v>955.83389999999781</c:v>
                </c:pt>
                <c:pt idx="237">
                  <c:v>946.56730000000243</c:v>
                </c:pt>
                <c:pt idx="238">
                  <c:v>936.11533000000054</c:v>
                </c:pt>
                <c:pt idx="239">
                  <c:v>924.5332699999999</c:v>
                </c:pt>
                <c:pt idx="240">
                  <c:v>911.88085999999748</c:v>
                </c:pt>
                <c:pt idx="241">
                  <c:v>898.22185000000172</c:v>
                </c:pt>
                <c:pt idx="242">
                  <c:v>883.62303000000247</c:v>
                </c:pt>
                <c:pt idx="243">
                  <c:v>868.15356999999494</c:v>
                </c:pt>
                <c:pt idx="244">
                  <c:v>851.88483000000269</c:v>
                </c:pt>
                <c:pt idx="245">
                  <c:v>834.88953000000038</c:v>
                </c:pt>
                <c:pt idx="246">
                  <c:v>817.24104000000079</c:v>
                </c:pt>
                <c:pt idx="247">
                  <c:v>799.01309000000037</c:v>
                </c:pt>
                <c:pt idx="248">
                  <c:v>780.279099999999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FA7-4D9A-8C9E-78CAA4FB84E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C$2:$C$250</c:f>
              <c:numCache>
                <c:formatCode>General</c:formatCode>
                <c:ptCount val="249"/>
                <c:pt idx="195">
                  <c:v>437.19192800000019</c:v>
                </c:pt>
                <c:pt idx="196">
                  <c:v>446.30802399999993</c:v>
                </c:pt>
                <c:pt idx="197">
                  <c:v>455.65999899999952</c:v>
                </c:pt>
                <c:pt idx="198">
                  <c:v>466.94591899999978</c:v>
                </c:pt>
                <c:pt idx="199">
                  <c:v>478.76142000000073</c:v>
                </c:pt>
                <c:pt idx="200">
                  <c:v>487.99686999999903</c:v>
                </c:pt>
                <c:pt idx="201">
                  <c:v>497.20378000000164</c:v>
                </c:pt>
                <c:pt idx="202">
                  <c:v>504.51392999999916</c:v>
                </c:pt>
                <c:pt idx="203">
                  <c:v>510.91447999999946</c:v>
                </c:pt>
                <c:pt idx="204">
                  <c:v>518.39442000000054</c:v>
                </c:pt>
                <c:pt idx="205">
                  <c:v>524.22495999999956</c:v>
                </c:pt>
                <c:pt idx="206">
                  <c:v>529.82383000000118</c:v>
                </c:pt>
                <c:pt idx="207">
                  <c:v>536.78575999999885</c:v>
                </c:pt>
                <c:pt idx="208">
                  <c:v>541.79992000000129</c:v>
                </c:pt>
                <c:pt idx="209">
                  <c:v>546.159889999999</c:v>
                </c:pt>
                <c:pt idx="210">
                  <c:v>551.00178000000051</c:v>
                </c:pt>
                <c:pt idx="211">
                  <c:v>554.96430999999939</c:v>
                </c:pt>
                <c:pt idx="212">
                  <c:v>558.1728800000019</c:v>
                </c:pt>
                <c:pt idx="213">
                  <c:v>561.47387999999773</c:v>
                </c:pt>
                <c:pt idx="214">
                  <c:v>564.58991000000242</c:v>
                </c:pt>
                <c:pt idx="215">
                  <c:v>566.78894999999829</c:v>
                </c:pt>
                <c:pt idx="216">
                  <c:v>568.39084000000003</c:v>
                </c:pt>
                <c:pt idx="217">
                  <c:v>569.9809099999984</c:v>
                </c:pt>
                <c:pt idx="218">
                  <c:v>570.49617000000217</c:v>
                </c:pt>
                <c:pt idx="219">
                  <c:v>570.6750699999975</c:v>
                </c:pt>
                <c:pt idx="220">
                  <c:v>571.08596000000034</c:v>
                </c:pt>
                <c:pt idx="221">
                  <c:v>570.30006000000139</c:v>
                </c:pt>
                <c:pt idx="222">
                  <c:v>569.22995000000083</c:v>
                </c:pt>
                <c:pt idx="223">
                  <c:v>567.67600999999922</c:v>
                </c:pt>
                <c:pt idx="224">
                  <c:v>565.64045999999871</c:v>
                </c:pt>
                <c:pt idx="225">
                  <c:v>563.13676000000123</c:v>
                </c:pt>
                <c:pt idx="226">
                  <c:v>560.17821000000185</c:v>
                </c:pt>
                <c:pt idx="227">
                  <c:v>556.77444999999716</c:v>
                </c:pt>
                <c:pt idx="228">
                  <c:v>552.93540000000212</c:v>
                </c:pt>
                <c:pt idx="229">
                  <c:v>548.67237000000023</c:v>
                </c:pt>
                <c:pt idx="230">
                  <c:v>543.99800999999934</c:v>
                </c:pt>
                <c:pt idx="231">
                  <c:v>538.92720999999801</c:v>
                </c:pt>
                <c:pt idx="232">
                  <c:v>533.47609999999986</c:v>
                </c:pt>
                <c:pt idx="233">
                  <c:v>527.66146000000299</c:v>
                </c:pt>
                <c:pt idx="234">
                  <c:v>521.50067999999737</c:v>
                </c:pt>
                <c:pt idx="235">
                  <c:v>515.01149000000078</c:v>
                </c:pt>
                <c:pt idx="236">
                  <c:v>508.2119300000013</c:v>
                </c:pt>
                <c:pt idx="237">
                  <c:v>501.12054999999964</c:v>
                </c:pt>
                <c:pt idx="238">
                  <c:v>493.75633000000016</c:v>
                </c:pt>
                <c:pt idx="239">
                  <c:v>486.13841999999931</c:v>
                </c:pt>
                <c:pt idx="240">
                  <c:v>478.28619999999864</c:v>
                </c:pt>
                <c:pt idx="241">
                  <c:v>470.21919999999955</c:v>
                </c:pt>
                <c:pt idx="242">
                  <c:v>461.95693000000028</c:v>
                </c:pt>
                <c:pt idx="243">
                  <c:v>453.51864999999816</c:v>
                </c:pt>
                <c:pt idx="244">
                  <c:v>444.92362000000139</c:v>
                </c:pt>
                <c:pt idx="245">
                  <c:v>436.19086000000243</c:v>
                </c:pt>
                <c:pt idx="246">
                  <c:v>427.33907000000181</c:v>
                </c:pt>
                <c:pt idx="247">
                  <c:v>418.38663000000088</c:v>
                </c:pt>
                <c:pt idx="248">
                  <c:v>409.351559999995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FA7-4D9A-8C9E-78CAA4FB84E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D$2:$D$250</c:f>
              <c:numCache>
                <c:formatCode>General</c:formatCode>
                <c:ptCount val="249"/>
                <c:pt idx="195">
                  <c:v>446.19443499999943</c:v>
                </c:pt>
                <c:pt idx="196">
                  <c:v>458.91515900000013</c:v>
                </c:pt>
                <c:pt idx="197">
                  <c:v>472.29685600000084</c:v>
                </c:pt>
                <c:pt idx="198">
                  <c:v>488.02214999999887</c:v>
                </c:pt>
                <c:pt idx="199">
                  <c:v>504.67244000000028</c:v>
                </c:pt>
                <c:pt idx="200">
                  <c:v>519.11635999999999</c:v>
                </c:pt>
                <c:pt idx="201">
                  <c:v>533.85488000000078</c:v>
                </c:pt>
                <c:pt idx="202">
                  <c:v>546.98383999999896</c:v>
                </c:pt>
                <c:pt idx="203">
                  <c:v>559.45048000000133</c:v>
                </c:pt>
                <c:pt idx="204">
                  <c:v>573.20974000000024</c:v>
                </c:pt>
                <c:pt idx="205">
                  <c:v>585.50998999999865</c:v>
                </c:pt>
                <c:pt idx="206">
                  <c:v>597.73451999999997</c:v>
                </c:pt>
                <c:pt idx="207">
                  <c:v>611.44828000000052</c:v>
                </c:pt>
                <c:pt idx="208">
                  <c:v>623.31165999999939</c:v>
                </c:pt>
                <c:pt idx="209">
                  <c:v>634.58747000000221</c:v>
                </c:pt>
                <c:pt idx="210">
                  <c:v>646.38015999999698</c:v>
                </c:pt>
                <c:pt idx="211">
                  <c:v>657.30217000000266</c:v>
                </c:pt>
                <c:pt idx="212">
                  <c:v>667.4515399999982</c:v>
                </c:pt>
                <c:pt idx="213">
                  <c:v>677.64184000000023</c:v>
                </c:pt>
                <c:pt idx="214">
                  <c:v>687.56370999999854</c:v>
                </c:pt>
                <c:pt idx="215">
                  <c:v>696.45675000000119</c:v>
                </c:pt>
                <c:pt idx="216">
                  <c:v>704.60895000000164</c:v>
                </c:pt>
                <c:pt idx="217">
                  <c:v>712.57494999999835</c:v>
                </c:pt>
                <c:pt idx="218">
                  <c:v>719.27361000000019</c:v>
                </c:pt>
                <c:pt idx="219">
                  <c:v>725.42180000000008</c:v>
                </c:pt>
                <c:pt idx="220">
                  <c:v>731.55783000000156</c:v>
                </c:pt>
                <c:pt idx="221">
                  <c:v>736.22897000000012</c:v>
                </c:pt>
                <c:pt idx="222">
                  <c:v>740.32225999999719</c:v>
                </c:pt>
                <c:pt idx="223">
                  <c:v>743.61631000000125</c:v>
                </c:pt>
                <c:pt idx="224">
                  <c:v>746.09372000000076</c:v>
                </c:pt>
                <c:pt idx="225">
                  <c:v>747.75427000000127</c:v>
                </c:pt>
                <c:pt idx="226">
                  <c:v>748.59911999999895</c:v>
                </c:pt>
                <c:pt idx="227">
                  <c:v>748.62589999999909</c:v>
                </c:pt>
                <c:pt idx="228">
                  <c:v>747.83424999999988</c:v>
                </c:pt>
                <c:pt idx="229">
                  <c:v>746.22767000000022</c:v>
                </c:pt>
                <c:pt idx="230">
                  <c:v>743.8132399999995</c:v>
                </c:pt>
                <c:pt idx="231">
                  <c:v>740.60294000000067</c:v>
                </c:pt>
                <c:pt idx="232">
                  <c:v>736.61246000000028</c:v>
                </c:pt>
                <c:pt idx="233">
                  <c:v>731.86009999999806</c:v>
                </c:pt>
                <c:pt idx="234">
                  <c:v>726.36680999999953</c:v>
                </c:pt>
                <c:pt idx="235">
                  <c:v>720.15583000000333</c:v>
                </c:pt>
                <c:pt idx="236">
                  <c:v>713.25243999999657</c:v>
                </c:pt>
                <c:pt idx="237">
                  <c:v>705.68431000000419</c:v>
                </c:pt>
                <c:pt idx="238">
                  <c:v>697.48115999999573</c:v>
                </c:pt>
                <c:pt idx="239">
                  <c:v>688.67442999999912</c:v>
                </c:pt>
                <c:pt idx="240">
                  <c:v>679.29715000000579</c:v>
                </c:pt>
                <c:pt idx="241">
                  <c:v>669.38380999999936</c:v>
                </c:pt>
                <c:pt idx="242">
                  <c:v>658.96985999999742</c:v>
                </c:pt>
                <c:pt idx="243">
                  <c:v>648.09144000000379</c:v>
                </c:pt>
                <c:pt idx="244">
                  <c:v>636.78546999999526</c:v>
                </c:pt>
                <c:pt idx="245">
                  <c:v>625.08927000000403</c:v>
                </c:pt>
                <c:pt idx="246">
                  <c:v>613.04020999999921</c:v>
                </c:pt>
                <c:pt idx="247">
                  <c:v>600.67577000000165</c:v>
                </c:pt>
                <c:pt idx="248">
                  <c:v>588.033139999999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FA7-4D9A-8C9E-78CAA4FB84E8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F$2:$F$250</c:f>
              <c:numCache>
                <c:formatCode>General</c:formatCode>
                <c:ptCount val="24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FA7-4D9A-8C9E-78CAA4FB84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cat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Algn val="ctr"/>
        <c:lblOffset val="100"/>
        <c:tickLblSkip val="7"/>
        <c:noMultiLvlLbl val="1"/>
      </c:cat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ayout>
        <c:manualLayout>
          <c:xMode val="edge"/>
          <c:yMode val="edge"/>
          <c:x val="0.20000242690338468"/>
          <c:y val="4.6874997116449491E-2"/>
          <c:w val="0.14188217964413682"/>
          <c:h val="4.7962349411764922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4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G$2:$G$250</c:f>
              <c:numCache>
                <c:formatCode>General</c:formatCode>
                <c:ptCount val="249"/>
                <c:pt idx="0">
                  <c:v>2485</c:v>
                </c:pt>
                <c:pt idx="1">
                  <c:v>2510</c:v>
                </c:pt>
                <c:pt idx="2">
                  <c:v>2706</c:v>
                </c:pt>
                <c:pt idx="3">
                  <c:v>2554</c:v>
                </c:pt>
                <c:pt idx="4">
                  <c:v>2379</c:v>
                </c:pt>
                <c:pt idx="5">
                  <c:v>2241</c:v>
                </c:pt>
                <c:pt idx="6">
                  <c:v>2145</c:v>
                </c:pt>
                <c:pt idx="7">
                  <c:v>1900</c:v>
                </c:pt>
                <c:pt idx="8">
                  <c:v>1882</c:v>
                </c:pt>
                <c:pt idx="9">
                  <c:v>2006</c:v>
                </c:pt>
                <c:pt idx="10">
                  <c:v>1852</c:v>
                </c:pt>
                <c:pt idx="11">
                  <c:v>1740</c:v>
                </c:pt>
                <c:pt idx="12">
                  <c:v>1644</c:v>
                </c:pt>
                <c:pt idx="13">
                  <c:v>1556</c:v>
                </c:pt>
                <c:pt idx="14">
                  <c:v>1352</c:v>
                </c:pt>
                <c:pt idx="15">
                  <c:v>1338</c:v>
                </c:pt>
                <c:pt idx="16">
                  <c:v>1417</c:v>
                </c:pt>
                <c:pt idx="17">
                  <c:v>1277</c:v>
                </c:pt>
                <c:pt idx="18">
                  <c:v>1168</c:v>
                </c:pt>
                <c:pt idx="19">
                  <c:v>1080</c:v>
                </c:pt>
                <c:pt idx="20">
                  <c:v>1030</c:v>
                </c:pt>
                <c:pt idx="21">
                  <c:v>884</c:v>
                </c:pt>
                <c:pt idx="22">
                  <c:v>865</c:v>
                </c:pt>
                <c:pt idx="23">
                  <c:v>897</c:v>
                </c:pt>
                <c:pt idx="24">
                  <c:v>803</c:v>
                </c:pt>
                <c:pt idx="25">
                  <c:v>775</c:v>
                </c:pt>
                <c:pt idx="26">
                  <c:v>679</c:v>
                </c:pt>
                <c:pt idx="27">
                  <c:v>625</c:v>
                </c:pt>
                <c:pt idx="28">
                  <c:v>522</c:v>
                </c:pt>
                <c:pt idx="29">
                  <c:v>520</c:v>
                </c:pt>
                <c:pt idx="30">
                  <c:v>558</c:v>
                </c:pt>
                <c:pt idx="31">
                  <c:v>480</c:v>
                </c:pt>
                <c:pt idx="32">
                  <c:v>445</c:v>
                </c:pt>
                <c:pt idx="33">
                  <c:v>396</c:v>
                </c:pt>
                <c:pt idx="34">
                  <c:v>369</c:v>
                </c:pt>
                <c:pt idx="35">
                  <c:v>304</c:v>
                </c:pt>
                <c:pt idx="36">
                  <c:v>304</c:v>
                </c:pt>
                <c:pt idx="37">
                  <c:v>306</c:v>
                </c:pt>
                <c:pt idx="38">
                  <c:v>290</c:v>
                </c:pt>
                <c:pt idx="39">
                  <c:v>262</c:v>
                </c:pt>
                <c:pt idx="40">
                  <c:v>239</c:v>
                </c:pt>
                <c:pt idx="41">
                  <c:v>190</c:v>
                </c:pt>
                <c:pt idx="42">
                  <c:v>163</c:v>
                </c:pt>
                <c:pt idx="43">
                  <c:v>155</c:v>
                </c:pt>
                <c:pt idx="44">
                  <c:v>171</c:v>
                </c:pt>
                <c:pt idx="45">
                  <c:v>144</c:v>
                </c:pt>
                <c:pt idx="46">
                  <c:v>123</c:v>
                </c:pt>
                <c:pt idx="47">
                  <c:v>122</c:v>
                </c:pt>
                <c:pt idx="48">
                  <c:v>114</c:v>
                </c:pt>
                <c:pt idx="49">
                  <c:v>91</c:v>
                </c:pt>
                <c:pt idx="50">
                  <c:v>89</c:v>
                </c:pt>
                <c:pt idx="51">
                  <c:v>94</c:v>
                </c:pt>
                <c:pt idx="52">
                  <c:v>90</c:v>
                </c:pt>
                <c:pt idx="53">
                  <c:v>87</c:v>
                </c:pt>
                <c:pt idx="54">
                  <c:v>84</c:v>
                </c:pt>
                <c:pt idx="55">
                  <c:v>70</c:v>
                </c:pt>
                <c:pt idx="56">
                  <c:v>58</c:v>
                </c:pt>
                <c:pt idx="57">
                  <c:v>59</c:v>
                </c:pt>
                <c:pt idx="58">
                  <c:v>65</c:v>
                </c:pt>
                <c:pt idx="59">
                  <c:v>60</c:v>
                </c:pt>
                <c:pt idx="60">
                  <c:v>60</c:v>
                </c:pt>
                <c:pt idx="61">
                  <c:v>50</c:v>
                </c:pt>
                <c:pt idx="62">
                  <c:v>41</c:v>
                </c:pt>
                <c:pt idx="63">
                  <c:v>30</c:v>
                </c:pt>
                <c:pt idx="64">
                  <c:v>33</c:v>
                </c:pt>
                <c:pt idx="65">
                  <c:v>35</c:v>
                </c:pt>
                <c:pt idx="66">
                  <c:v>34</c:v>
                </c:pt>
                <c:pt idx="67">
                  <c:v>44</c:v>
                </c:pt>
                <c:pt idx="68">
                  <c:v>41</c:v>
                </c:pt>
                <c:pt idx="69">
                  <c:v>37</c:v>
                </c:pt>
                <c:pt idx="70">
                  <c:v>26</c:v>
                </c:pt>
                <c:pt idx="71">
                  <c:v>26</c:v>
                </c:pt>
                <c:pt idx="72">
                  <c:v>35</c:v>
                </c:pt>
                <c:pt idx="73">
                  <c:v>33</c:v>
                </c:pt>
                <c:pt idx="74">
                  <c:v>31</c:v>
                </c:pt>
                <c:pt idx="75">
                  <c:v>32</c:v>
                </c:pt>
                <c:pt idx="76">
                  <c:v>35</c:v>
                </c:pt>
                <c:pt idx="77">
                  <c:v>33</c:v>
                </c:pt>
                <c:pt idx="78">
                  <c:v>35</c:v>
                </c:pt>
                <c:pt idx="79">
                  <c:v>49</c:v>
                </c:pt>
                <c:pt idx="80">
                  <c:v>45</c:v>
                </c:pt>
                <c:pt idx="81">
                  <c:v>47</c:v>
                </c:pt>
                <c:pt idx="82">
                  <c:v>46</c:v>
                </c:pt>
                <c:pt idx="83">
                  <c:v>46</c:v>
                </c:pt>
                <c:pt idx="84">
                  <c:v>43</c:v>
                </c:pt>
                <c:pt idx="85">
                  <c:v>50</c:v>
                </c:pt>
                <c:pt idx="86">
                  <c:v>62</c:v>
                </c:pt>
                <c:pt idx="87">
                  <c:v>55</c:v>
                </c:pt>
                <c:pt idx="88">
                  <c:v>55</c:v>
                </c:pt>
                <c:pt idx="89">
                  <c:v>62</c:v>
                </c:pt>
                <c:pt idx="90">
                  <c:v>62</c:v>
                </c:pt>
                <c:pt idx="91">
                  <c:v>58</c:v>
                </c:pt>
                <c:pt idx="92">
                  <c:v>52</c:v>
                </c:pt>
                <c:pt idx="93">
                  <c:v>61</c:v>
                </c:pt>
                <c:pt idx="94">
                  <c:v>57</c:v>
                </c:pt>
                <c:pt idx="95">
                  <c:v>59</c:v>
                </c:pt>
                <c:pt idx="96">
                  <c:v>60</c:v>
                </c:pt>
                <c:pt idx="97">
                  <c:v>60</c:v>
                </c:pt>
                <c:pt idx="98">
                  <c:v>59</c:v>
                </c:pt>
                <c:pt idx="99">
                  <c:v>58</c:v>
                </c:pt>
                <c:pt idx="100">
                  <c:v>68</c:v>
                </c:pt>
                <c:pt idx="101">
                  <c:v>63</c:v>
                </c:pt>
                <c:pt idx="102">
                  <c:v>65</c:v>
                </c:pt>
                <c:pt idx="103">
                  <c:v>65</c:v>
                </c:pt>
                <c:pt idx="104">
                  <c:v>56</c:v>
                </c:pt>
                <c:pt idx="105">
                  <c:v>59</c:v>
                </c:pt>
                <c:pt idx="106">
                  <c:v>61</c:v>
                </c:pt>
                <c:pt idx="107">
                  <c:v>74</c:v>
                </c:pt>
                <c:pt idx="108">
                  <c:v>74</c:v>
                </c:pt>
                <c:pt idx="109">
                  <c:v>78</c:v>
                </c:pt>
                <c:pt idx="110">
                  <c:v>73</c:v>
                </c:pt>
                <c:pt idx="111">
                  <c:v>72</c:v>
                </c:pt>
                <c:pt idx="112">
                  <c:v>61</c:v>
                </c:pt>
                <c:pt idx="113">
                  <c:v>66</c:v>
                </c:pt>
                <c:pt idx="114">
                  <c:v>72</c:v>
                </c:pt>
                <c:pt idx="115">
                  <c:v>69</c:v>
                </c:pt>
                <c:pt idx="116">
                  <c:v>73</c:v>
                </c:pt>
                <c:pt idx="117">
                  <c:v>71</c:v>
                </c:pt>
                <c:pt idx="118">
                  <c:v>62</c:v>
                </c:pt>
                <c:pt idx="119">
                  <c:v>56</c:v>
                </c:pt>
                <c:pt idx="120">
                  <c:v>55</c:v>
                </c:pt>
                <c:pt idx="121">
                  <c:v>61</c:v>
                </c:pt>
                <c:pt idx="122">
                  <c:v>56</c:v>
                </c:pt>
                <c:pt idx="123">
                  <c:v>63</c:v>
                </c:pt>
                <c:pt idx="124">
                  <c:v>66</c:v>
                </c:pt>
                <c:pt idx="125">
                  <c:v>64</c:v>
                </c:pt>
                <c:pt idx="126">
                  <c:v>61</c:v>
                </c:pt>
                <c:pt idx="127">
                  <c:v>69</c:v>
                </c:pt>
                <c:pt idx="128">
                  <c:v>92</c:v>
                </c:pt>
                <c:pt idx="129">
                  <c:v>97</c:v>
                </c:pt>
                <c:pt idx="130">
                  <c:v>102</c:v>
                </c:pt>
                <c:pt idx="131">
                  <c:v>113</c:v>
                </c:pt>
                <c:pt idx="132">
                  <c:v>117</c:v>
                </c:pt>
                <c:pt idx="133">
                  <c:v>115</c:v>
                </c:pt>
                <c:pt idx="134">
                  <c:v>127</c:v>
                </c:pt>
                <c:pt idx="135">
                  <c:v>157</c:v>
                </c:pt>
                <c:pt idx="136">
                  <c:v>164</c:v>
                </c:pt>
                <c:pt idx="137">
                  <c:v>168</c:v>
                </c:pt>
                <c:pt idx="138">
                  <c:v>166</c:v>
                </c:pt>
                <c:pt idx="139">
                  <c:v>182</c:v>
                </c:pt>
                <c:pt idx="140">
                  <c:v>161</c:v>
                </c:pt>
                <c:pt idx="141">
                  <c:v>164</c:v>
                </c:pt>
                <c:pt idx="142">
                  <c:v>185</c:v>
                </c:pt>
                <c:pt idx="143">
                  <c:v>180</c:v>
                </c:pt>
                <c:pt idx="144">
                  <c:v>182</c:v>
                </c:pt>
                <c:pt idx="145">
                  <c:v>183</c:v>
                </c:pt>
                <c:pt idx="146">
                  <c:v>188</c:v>
                </c:pt>
                <c:pt idx="147">
                  <c:v>188</c:v>
                </c:pt>
                <c:pt idx="148">
                  <c:v>197</c:v>
                </c:pt>
                <c:pt idx="149">
                  <c:v>229</c:v>
                </c:pt>
                <c:pt idx="150">
                  <c:v>226</c:v>
                </c:pt>
                <c:pt idx="151">
                  <c:v>253</c:v>
                </c:pt>
                <c:pt idx="152">
                  <c:v>251</c:v>
                </c:pt>
                <c:pt idx="153">
                  <c:v>244</c:v>
                </c:pt>
                <c:pt idx="154">
                  <c:v>234</c:v>
                </c:pt>
                <c:pt idx="155">
                  <c:v>247</c:v>
                </c:pt>
                <c:pt idx="156">
                  <c:v>302</c:v>
                </c:pt>
                <c:pt idx="157">
                  <c:v>302</c:v>
                </c:pt>
                <c:pt idx="158">
                  <c:v>326</c:v>
                </c:pt>
                <c:pt idx="159">
                  <c:v>316</c:v>
                </c:pt>
                <c:pt idx="160">
                  <c:v>344</c:v>
                </c:pt>
                <c:pt idx="161">
                  <c:v>333</c:v>
                </c:pt>
                <c:pt idx="162">
                  <c:v>350</c:v>
                </c:pt>
                <c:pt idx="163">
                  <c:v>425</c:v>
                </c:pt>
                <c:pt idx="164">
                  <c:v>444</c:v>
                </c:pt>
                <c:pt idx="165">
                  <c:v>470</c:v>
                </c:pt>
                <c:pt idx="166">
                  <c:v>496</c:v>
                </c:pt>
                <c:pt idx="167">
                  <c:v>527</c:v>
                </c:pt>
                <c:pt idx="168">
                  <c:v>515</c:v>
                </c:pt>
                <c:pt idx="169">
                  <c:v>541</c:v>
                </c:pt>
                <c:pt idx="170">
                  <c:v>662</c:v>
                </c:pt>
                <c:pt idx="171">
                  <c:v>725</c:v>
                </c:pt>
                <c:pt idx="172">
                  <c:v>795</c:v>
                </c:pt>
                <c:pt idx="173">
                  <c:v>838</c:v>
                </c:pt>
                <c:pt idx="174">
                  <c:v>921</c:v>
                </c:pt>
                <c:pt idx="175">
                  <c:v>929</c:v>
                </c:pt>
                <c:pt idx="176">
                  <c:v>992</c:v>
                </c:pt>
                <c:pt idx="177">
                  <c:v>1173</c:v>
                </c:pt>
                <c:pt idx="178">
                  <c:v>1294</c:v>
                </c:pt>
                <c:pt idx="179">
                  <c:v>1396</c:v>
                </c:pt>
                <c:pt idx="180">
                  <c:v>1390</c:v>
                </c:pt>
                <c:pt idx="181">
                  <c:v>1578</c:v>
                </c:pt>
                <c:pt idx="182">
                  <c:v>1597</c:v>
                </c:pt>
                <c:pt idx="183">
                  <c:v>1730</c:v>
                </c:pt>
                <c:pt idx="184">
                  <c:v>2102</c:v>
                </c:pt>
                <c:pt idx="185">
                  <c:v>2292</c:v>
                </c:pt>
                <c:pt idx="186">
                  <c:v>2494</c:v>
                </c:pt>
                <c:pt idx="187">
                  <c:v>2657</c:v>
                </c:pt>
                <c:pt idx="188">
                  <c:v>2793</c:v>
                </c:pt>
                <c:pt idx="189">
                  <c:v>2799</c:v>
                </c:pt>
                <c:pt idx="190">
                  <c:v>2950</c:v>
                </c:pt>
                <c:pt idx="191">
                  <c:v>3406</c:v>
                </c:pt>
                <c:pt idx="192">
                  <c:v>3596</c:v>
                </c:pt>
                <c:pt idx="193">
                  <c:v>3749</c:v>
                </c:pt>
                <c:pt idx="194">
                  <c:v>3882</c:v>
                </c:pt>
                <c:pt idx="195">
                  <c:v>4045</c:v>
                </c:pt>
                <c:pt idx="196">
                  <c:v>3986</c:v>
                </c:pt>
                <c:pt idx="197">
                  <c:v>4128</c:v>
                </c:pt>
                <c:pt idx="198">
                  <c:v>4775</c:v>
                </c:pt>
                <c:pt idx="199">
                  <c:v>4837</c:v>
                </c:pt>
                <c:pt idx="200">
                  <c:v>4809</c:v>
                </c:pt>
                <c:pt idx="201">
                  <c:v>5174</c:v>
                </c:pt>
                <c:pt idx="202">
                  <c:v>5299</c:v>
                </c:pt>
                <c:pt idx="203">
                  <c:v>5189</c:v>
                </c:pt>
                <c:pt idx="204">
                  <c:v>5386</c:v>
                </c:pt>
                <c:pt idx="205">
                  <c:v>5959</c:v>
                </c:pt>
                <c:pt idx="206">
                  <c:v>6065</c:v>
                </c:pt>
                <c:pt idx="207">
                  <c:v>6125</c:v>
                </c:pt>
                <c:pt idx="208">
                  <c:v>6135</c:v>
                </c:pt>
                <c:pt idx="209">
                  <c:v>6260</c:v>
                </c:pt>
                <c:pt idx="210">
                  <c:v>59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rgbClr val="C00000"/>
              </a:solidFill>
              <a:prstDash val="sysDot"/>
              <a:round/>
            </a:ln>
            <a:effectLst/>
          </c:spPr>
          <c:marker>
            <c:symbol val="none"/>
          </c:marker>
          <c:val>
            <c:numRef>
              <c:f>Sheet1!$E$2:$E$250</c:f>
              <c:numCache>
                <c:formatCode>General</c:formatCode>
                <c:ptCount val="249"/>
                <c:pt idx="0">
                  <c:v>2525.7390516979985</c:v>
                </c:pt>
                <c:pt idx="1">
                  <c:v>2391.4098182899047</c:v>
                </c:pt>
                <c:pt idx="2">
                  <c:v>2263.2741588644108</c:v>
                </c:pt>
                <c:pt idx="3">
                  <c:v>2140.9069226927459</c:v>
                </c:pt>
                <c:pt idx="4">
                  <c:v>2019.2681422958262</c:v>
                </c:pt>
                <c:pt idx="5">
                  <c:v>1909.1947317888748</c:v>
                </c:pt>
                <c:pt idx="6">
                  <c:v>1808.4107742140136</c:v>
                </c:pt>
                <c:pt idx="7">
                  <c:v>1719.692225522188</c:v>
                </c:pt>
                <c:pt idx="8">
                  <c:v>1637.0557701248508</c:v>
                </c:pt>
                <c:pt idx="9">
                  <c:v>1558.4304723361834</c:v>
                </c:pt>
                <c:pt idx="10">
                  <c:v>1482.9872044228273</c:v>
                </c:pt>
                <c:pt idx="11">
                  <c:v>1407.4288362094478</c:v>
                </c:pt>
                <c:pt idx="12">
                  <c:v>1336.3567979437712</c:v>
                </c:pt>
                <c:pt idx="13">
                  <c:v>1272.2803785257952</c:v>
                </c:pt>
                <c:pt idx="14">
                  <c:v>1211.6266712349677</c:v>
                </c:pt>
                <c:pt idx="15">
                  <c:v>1156.5243389761108</c:v>
                </c:pt>
                <c:pt idx="16">
                  <c:v>1105.3271324579944</c:v>
                </c:pt>
                <c:pt idx="17">
                  <c:v>1054.2821331499508</c:v>
                </c:pt>
                <c:pt idx="18">
                  <c:v>1005.7693967023961</c:v>
                </c:pt>
                <c:pt idx="19">
                  <c:v>959.4669632833851</c:v>
                </c:pt>
                <c:pt idx="20">
                  <c:v>915.20860268159595</c:v>
                </c:pt>
                <c:pt idx="21">
                  <c:v>871.98229828032413</c:v>
                </c:pt>
                <c:pt idx="22">
                  <c:v>830.70034069792518</c:v>
                </c:pt>
                <c:pt idx="23">
                  <c:v>790.02156007075087</c:v>
                </c:pt>
                <c:pt idx="24">
                  <c:v>750.46944220392027</c:v>
                </c:pt>
                <c:pt idx="25">
                  <c:v>711.06544283787059</c:v>
                </c:pt>
                <c:pt idx="26">
                  <c:v>673.60762179203607</c:v>
                </c:pt>
                <c:pt idx="27">
                  <c:v>637.42132631192135</c:v>
                </c:pt>
                <c:pt idx="28">
                  <c:v>602.69148715149117</c:v>
                </c:pt>
                <c:pt idx="29">
                  <c:v>569.4915707361655</c:v>
                </c:pt>
                <c:pt idx="30">
                  <c:v>537.58373221984868</c:v>
                </c:pt>
                <c:pt idx="31">
                  <c:v>506.69934554324084</c:v>
                </c:pt>
                <c:pt idx="32">
                  <c:v>476.87495247939916</c:v>
                </c:pt>
                <c:pt idx="33">
                  <c:v>448.80812284339606</c:v>
                </c:pt>
                <c:pt idx="34">
                  <c:v>421.80452315131345</c:v>
                </c:pt>
                <c:pt idx="35">
                  <c:v>396.44421271975943</c:v>
                </c:pt>
                <c:pt idx="36">
                  <c:v>372.37059270178247</c:v>
                </c:pt>
                <c:pt idx="37">
                  <c:v>349.54418486454711</c:v>
                </c:pt>
                <c:pt idx="38">
                  <c:v>327.6924891617391</c:v>
                </c:pt>
                <c:pt idx="39">
                  <c:v>306.94698203188108</c:v>
                </c:pt>
                <c:pt idx="40">
                  <c:v>287.42604935518818</c:v>
                </c:pt>
                <c:pt idx="41">
                  <c:v>269.39485743704455</c:v>
                </c:pt>
                <c:pt idx="42">
                  <c:v>252.50959877732822</c:v>
                </c:pt>
                <c:pt idx="43">
                  <c:v>236.94329165295713</c:v>
                </c:pt>
                <c:pt idx="44">
                  <c:v>222.46375643425557</c:v>
                </c:pt>
                <c:pt idx="45">
                  <c:v>208.86781257269865</c:v>
                </c:pt>
                <c:pt idx="46">
                  <c:v>196.25866080621813</c:v>
                </c:pt>
                <c:pt idx="47">
                  <c:v>184.5254382442179</c:v>
                </c:pt>
                <c:pt idx="48">
                  <c:v>173.58346135571338</c:v>
                </c:pt>
                <c:pt idx="49">
                  <c:v>163.37371066443706</c:v>
                </c:pt>
                <c:pt idx="50">
                  <c:v>153.98679475277191</c:v>
                </c:pt>
                <c:pt idx="51">
                  <c:v>145.23814440060707</c:v>
                </c:pt>
                <c:pt idx="52">
                  <c:v>137.07679570734817</c:v>
                </c:pt>
                <c:pt idx="53">
                  <c:v>129.4519047554183</c:v>
                </c:pt>
                <c:pt idx="54">
                  <c:v>122.31109292889917</c:v>
                </c:pt>
                <c:pt idx="55">
                  <c:v>115.60864961925925</c:v>
                </c:pt>
                <c:pt idx="56">
                  <c:v>109.30562972349179</c:v>
                </c:pt>
                <c:pt idx="57">
                  <c:v>103.36854378209944</c:v>
                </c:pt>
                <c:pt idx="58">
                  <c:v>97.844095018049359</c:v>
                </c:pt>
                <c:pt idx="59">
                  <c:v>92.824329030981204</c:v>
                </c:pt>
                <c:pt idx="60">
                  <c:v>88.352368623752227</c:v>
                </c:pt>
                <c:pt idx="61">
                  <c:v>84.434585534145427</c:v>
                </c:pt>
                <c:pt idx="62">
                  <c:v>81.056575181062158</c:v>
                </c:pt>
                <c:pt idx="63">
                  <c:v>78.188884708935007</c:v>
                </c:pt>
                <c:pt idx="64">
                  <c:v>75.796855174779353</c:v>
                </c:pt>
                <c:pt idx="65">
                  <c:v>73.844745350645638</c:v>
                </c:pt>
                <c:pt idx="66">
                  <c:v>72.292361811863259</c:v>
                </c:pt>
                <c:pt idx="67">
                  <c:v>71.096470177678256</c:v>
                </c:pt>
                <c:pt idx="68">
                  <c:v>70.214597494273164</c:v>
                </c:pt>
                <c:pt idx="69">
                  <c:v>69.631373430110557</c:v>
                </c:pt>
                <c:pt idx="70">
                  <c:v>69.325301146197788</c:v>
                </c:pt>
                <c:pt idx="71">
                  <c:v>69.267579958481164</c:v>
                </c:pt>
                <c:pt idx="72">
                  <c:v>69.425194650248031</c:v>
                </c:pt>
                <c:pt idx="73">
                  <c:v>69.761030194646537</c:v>
                </c:pt>
                <c:pt idx="74">
                  <c:v>70.235298358437277</c:v>
                </c:pt>
                <c:pt idx="75">
                  <c:v>70.807572367024576</c:v>
                </c:pt>
                <c:pt idx="76">
                  <c:v>71.44156931503791</c:v>
                </c:pt>
                <c:pt idx="77">
                  <c:v>72.10547832113086</c:v>
                </c:pt>
                <c:pt idx="78">
                  <c:v>72.772397576378523</c:v>
                </c:pt>
                <c:pt idx="79">
                  <c:v>73.421356459321714</c:v>
                </c:pt>
                <c:pt idx="80">
                  <c:v>74.034136667064772</c:v>
                </c:pt>
                <c:pt idx="81">
                  <c:v>74.595151604567391</c:v>
                </c:pt>
                <c:pt idx="82">
                  <c:v>75.091030524401106</c:v>
                </c:pt>
                <c:pt idx="83">
                  <c:v>75.510067235111137</c:v>
                </c:pt>
                <c:pt idx="84">
                  <c:v>75.842645257689625</c:v>
                </c:pt>
                <c:pt idx="85">
                  <c:v>76.081807025424339</c:v>
                </c:pt>
                <c:pt idx="86">
                  <c:v>76.223843839996448</c:v>
                </c:pt>
                <c:pt idx="87">
                  <c:v>76.266514206186926</c:v>
                </c:pt>
                <c:pt idx="88">
                  <c:v>76.20815310317758</c:v>
                </c:pt>
                <c:pt idx="89">
                  <c:v>76.047977064035663</c:v>
                </c:pt>
                <c:pt idx="90">
                  <c:v>75.786705396702288</c:v>
                </c:pt>
                <c:pt idx="91">
                  <c:v>75.426511826722603</c:v>
                </c:pt>
                <c:pt idx="92">
                  <c:v>74.971123192621803</c:v>
                </c:pt>
                <c:pt idx="93">
                  <c:v>74.42571822213776</c:v>
                </c:pt>
                <c:pt idx="94">
                  <c:v>73.795175679225423</c:v>
                </c:pt>
                <c:pt idx="95">
                  <c:v>73.083772803478098</c:v>
                </c:pt>
                <c:pt idx="96">
                  <c:v>72.295682669874523</c:v>
                </c:pt>
                <c:pt idx="97">
                  <c:v>71.435178718788876</c:v>
                </c:pt>
                <c:pt idx="98">
                  <c:v>70.506442969384608</c:v>
                </c:pt>
                <c:pt idx="99">
                  <c:v>69.514269852298739</c:v>
                </c:pt>
                <c:pt idx="100">
                  <c:v>68.56001275345352</c:v>
                </c:pt>
                <c:pt idx="101">
                  <c:v>67.712880512832754</c:v>
                </c:pt>
                <c:pt idx="102">
                  <c:v>67.011191520303043</c:v>
                </c:pt>
                <c:pt idx="103">
                  <c:v>66.475617760554258</c:v>
                </c:pt>
                <c:pt idx="104">
                  <c:v>66.114909895286374</c:v>
                </c:pt>
                <c:pt idx="105">
                  <c:v>65.930713512608904</c:v>
                </c:pt>
                <c:pt idx="106">
                  <c:v>65.92205610085783</c:v>
                </c:pt>
                <c:pt idx="107">
                  <c:v>66.08470998521409</c:v>
                </c:pt>
                <c:pt idx="108">
                  <c:v>66.410873241383754</c:v>
                </c:pt>
                <c:pt idx="109">
                  <c:v>66.889041640881771</c:v>
                </c:pt>
                <c:pt idx="110">
                  <c:v>67.50776675664774</c:v>
                </c:pt>
                <c:pt idx="111">
                  <c:v>68.254373419457295</c:v>
                </c:pt>
                <c:pt idx="112">
                  <c:v>69.115687592885749</c:v>
                </c:pt>
                <c:pt idx="113">
                  <c:v>70.078983218044897</c:v>
                </c:pt>
                <c:pt idx="114">
                  <c:v>71.129715088584391</c:v>
                </c:pt>
                <c:pt idx="115">
                  <c:v>72.252462179033913</c:v>
                </c:pt>
                <c:pt idx="116">
                  <c:v>73.430763372109695</c:v>
                </c:pt>
                <c:pt idx="117">
                  <c:v>74.64931143019642</c:v>
                </c:pt>
                <c:pt idx="118">
                  <c:v>75.895837727765169</c:v>
                </c:pt>
                <c:pt idx="119">
                  <c:v>77.159326236478719</c:v>
                </c:pt>
                <c:pt idx="120">
                  <c:v>78.430357126586145</c:v>
                </c:pt>
                <c:pt idx="121">
                  <c:v>79.70152085126719</c:v>
                </c:pt>
                <c:pt idx="122">
                  <c:v>80.966067202305524</c:v>
                </c:pt>
                <c:pt idx="123">
                  <c:v>82.217817553323584</c:v>
                </c:pt>
                <c:pt idx="124">
                  <c:v>83.451630791111413</c:v>
                </c:pt>
                <c:pt idx="125">
                  <c:v>84.663102232269594</c:v>
                </c:pt>
                <c:pt idx="126">
                  <c:v>85.848363505356957</c:v>
                </c:pt>
                <c:pt idx="127">
                  <c:v>87.004558254880266</c:v>
                </c:pt>
                <c:pt idx="128">
                  <c:v>88.12994371176606</c:v>
                </c:pt>
                <c:pt idx="129">
                  <c:v>89.222438809135994</c:v>
                </c:pt>
                <c:pt idx="130">
                  <c:v>90.280242715164405</c:v>
                </c:pt>
                <c:pt idx="131">
                  <c:v>91.382111541175931</c:v>
                </c:pt>
                <c:pt idx="132">
                  <c:v>92.584696379968776</c:v>
                </c:pt>
                <c:pt idx="133">
                  <c:v>93.93067370385512</c:v>
                </c:pt>
                <c:pt idx="134">
                  <c:v>95.45779158271354</c:v>
                </c:pt>
                <c:pt idx="135">
                  <c:v>97.203054162819484</c:v>
                </c:pt>
                <c:pt idx="136">
                  <c:v>99.204005002271757</c:v>
                </c:pt>
                <c:pt idx="137">
                  <c:v>101.49905370866749</c:v>
                </c:pt>
                <c:pt idx="138">
                  <c:v>104.12487497931527</c:v>
                </c:pt>
                <c:pt idx="139">
                  <c:v>107.11718080740846</c:v>
                </c:pt>
                <c:pt idx="140">
                  <c:v>110.50820690149644</c:v>
                </c:pt>
                <c:pt idx="141">
                  <c:v>114.32905741209089</c:v>
                </c:pt>
                <c:pt idx="142">
                  <c:v>118.60826343466078</c:v>
                </c:pt>
                <c:pt idx="143">
                  <c:v>123.3715245966855</c:v>
                </c:pt>
                <c:pt idx="144">
                  <c:v>128.64269230966681</c:v>
                </c:pt>
                <c:pt idx="145">
                  <c:v>134.44284842278711</c:v>
                </c:pt>
                <c:pt idx="146">
                  <c:v>140.79142374160554</c:v>
                </c:pt>
                <c:pt idx="147">
                  <c:v>147.70662690853328</c:v>
                </c:pt>
                <c:pt idx="148">
                  <c:v>155.20749004641004</c:v>
                </c:pt>
                <c:pt idx="149">
                  <c:v>163.31441982767387</c:v>
                </c:pt>
                <c:pt idx="150">
                  <c:v>172.04705243013206</c:v>
                </c:pt>
                <c:pt idx="151">
                  <c:v>181.42528130804959</c:v>
                </c:pt>
                <c:pt idx="152">
                  <c:v>191.47000196578691</c:v>
                </c:pt>
                <c:pt idx="153">
                  <c:v>202.20324176446178</c:v>
                </c:pt>
                <c:pt idx="154">
                  <c:v>213.64826304684181</c:v>
                </c:pt>
                <c:pt idx="155">
                  <c:v>225.8310556628133</c:v>
                </c:pt>
                <c:pt idx="156">
                  <c:v>238.78017964825028</c:v>
                </c:pt>
                <c:pt idx="157">
                  <c:v>252.52577478341101</c:v>
                </c:pt>
                <c:pt idx="158">
                  <c:v>267.10048950619262</c:v>
                </c:pt>
                <c:pt idx="159">
                  <c:v>282.53817956652978</c:v>
                </c:pt>
                <c:pt idx="160">
                  <c:v>298.87386291898576</c:v>
                </c:pt>
                <c:pt idx="161">
                  <c:v>316.7209617769193</c:v>
                </c:pt>
                <c:pt idx="162">
                  <c:v>336.55251948810161</c:v>
                </c:pt>
                <c:pt idx="163">
                  <c:v>358.72216608435474</c:v>
                </c:pt>
                <c:pt idx="164">
                  <c:v>383.52881106656162</c:v>
                </c:pt>
                <c:pt idx="165">
                  <c:v>411.24438344700093</c:v>
                </c:pt>
                <c:pt idx="166">
                  <c:v>442.13584845937669</c:v>
                </c:pt>
                <c:pt idx="167">
                  <c:v>476.48203250463712</c:v>
                </c:pt>
                <c:pt idx="168">
                  <c:v>514.56781849061883</c:v>
                </c:pt>
                <c:pt idx="169">
                  <c:v>556.69230818519748</c:v>
                </c:pt>
                <c:pt idx="170">
                  <c:v>603.16482520111128</c:v>
                </c:pt>
                <c:pt idx="171">
                  <c:v>654.3208983696868</c:v>
                </c:pt>
                <c:pt idx="172">
                  <c:v>761.99317087666952</c:v>
                </c:pt>
                <c:pt idx="173">
                  <c:v>821.97580033493875</c:v>
                </c:pt>
                <c:pt idx="174">
                  <c:v>886.32891506367014</c:v>
                </c:pt>
                <c:pt idx="175">
                  <c:v>957.029713986861</c:v>
                </c:pt>
                <c:pt idx="176">
                  <c:v>1035.5638648695319</c:v>
                </c:pt>
                <c:pt idx="177">
                  <c:v>1121.985124085563</c:v>
                </c:pt>
                <c:pt idx="178">
                  <c:v>1215.1282252083911</c:v>
                </c:pt>
                <c:pt idx="179">
                  <c:v>1315.5749741198299</c:v>
                </c:pt>
                <c:pt idx="180">
                  <c:v>1427.3431691532101</c:v>
                </c:pt>
                <c:pt idx="181">
                  <c:v>1548.7455518993343</c:v>
                </c:pt>
                <c:pt idx="182">
                  <c:v>1689.1915280514895</c:v>
                </c:pt>
                <c:pt idx="183">
                  <c:v>1842.0709119032731</c:v>
                </c:pt>
                <c:pt idx="184">
                  <c:v>2006.3267450025155</c:v>
                </c:pt>
                <c:pt idx="185">
                  <c:v>2178.9323192054849</c:v>
                </c:pt>
                <c:pt idx="186">
                  <c:v>2354.5783443465875</c:v>
                </c:pt>
                <c:pt idx="187">
                  <c:v>2532.0251568775361</c:v>
                </c:pt>
                <c:pt idx="188">
                  <c:v>2712.5363553389343</c:v>
                </c:pt>
                <c:pt idx="189">
                  <c:v>2892.5380596774803</c:v>
                </c:pt>
                <c:pt idx="190">
                  <c:v>3070.2680227991641</c:v>
                </c:pt>
                <c:pt idx="191">
                  <c:v>3245.950731171818</c:v>
                </c:pt>
                <c:pt idx="192">
                  <c:v>3418.9245065045834</c:v>
                </c:pt>
                <c:pt idx="193">
                  <c:v>3588.4036014870767</c:v>
                </c:pt>
                <c:pt idx="194">
                  <c:v>3754.6872907695611</c:v>
                </c:pt>
                <c:pt idx="195">
                  <c:v>3892.7752822914981</c:v>
                </c:pt>
                <c:pt idx="196">
                  <c:v>4043.1687347470597</c:v>
                </c:pt>
                <c:pt idx="197">
                  <c:v>4200.2470000448029</c:v>
                </c:pt>
                <c:pt idx="198">
                  <c:v>4359.4916428298739</c:v>
                </c:pt>
                <c:pt idx="199">
                  <c:v>4516.8426085193496</c:v>
                </c:pt>
                <c:pt idx="200">
                  <c:v>4674.49501363325</c:v>
                </c:pt>
                <c:pt idx="201">
                  <c:v>4836.9296358195488</c:v>
                </c:pt>
                <c:pt idx="202">
                  <c:v>5005.9629248299834</c:v>
                </c:pt>
                <c:pt idx="203">
                  <c:v>5181.0823628909475</c:v>
                </c:pt>
                <c:pt idx="204">
                  <c:v>5367.2087561997469</c:v>
                </c:pt>
                <c:pt idx="205">
                  <c:v>5557.7622339853688</c:v>
                </c:pt>
                <c:pt idx="206">
                  <c:v>5741.227412579784</c:v>
                </c:pt>
                <c:pt idx="207">
                  <c:v>5924.3916908957708</c:v>
                </c:pt>
                <c:pt idx="208">
                  <c:v>6111.6242528419043</c:v>
                </c:pt>
                <c:pt idx="209">
                  <c:v>6304.0139361848642</c:v>
                </c:pt>
                <c:pt idx="210">
                  <c:v>6501.2446122618303</c:v>
                </c:pt>
                <c:pt idx="211">
                  <c:v>6702.5228306654781</c:v>
                </c:pt>
                <c:pt idx="212">
                  <c:v>6906.5301863113755</c:v>
                </c:pt>
                <c:pt idx="213">
                  <c:v>7109.4791726113908</c:v>
                </c:pt>
                <c:pt idx="214">
                  <c:v>7311.3153925703818</c:v>
                </c:pt>
                <c:pt idx="215">
                  <c:v>7512.1806540221523</c:v>
                </c:pt>
                <c:pt idx="216">
                  <c:v>7711.789297014001</c:v>
                </c:pt>
                <c:pt idx="217">
                  <c:v>7908.8414601342893</c:v>
                </c:pt>
                <c:pt idx="218">
                  <c:v>8103.5161819879359</c:v>
                </c:pt>
                <c:pt idx="219">
                  <c:v>8294.4674585003886</c:v>
                </c:pt>
                <c:pt idx="220">
                  <c:v>8481.1526524327164</c:v>
                </c:pt>
                <c:pt idx="221">
                  <c:v>8661.5385703678348</c:v>
                </c:pt>
                <c:pt idx="222">
                  <c:v>8835.5454934832705</c:v>
                </c:pt>
                <c:pt idx="223">
                  <c:v>9002.9890621874674</c:v>
                </c:pt>
                <c:pt idx="224">
                  <c:v>9161.1516483523119</c:v>
                </c:pt>
                <c:pt idx="225">
                  <c:v>9310.7132913458499</c:v>
                </c:pt>
                <c:pt idx="226">
                  <c:v>9451.1919071894808</c:v>
                </c:pt>
                <c:pt idx="227">
                  <c:v>9581.0814534073234</c:v>
                </c:pt>
                <c:pt idx="228">
                  <c:v>9700.0694388859665</c:v>
                </c:pt>
                <c:pt idx="229">
                  <c:v>9807.7261848728922</c:v>
                </c:pt>
                <c:pt idx="230">
                  <c:v>9903.950113379924</c:v>
                </c:pt>
                <c:pt idx="231">
                  <c:v>9986.8513187595854</c:v>
                </c:pt>
                <c:pt idx="232">
                  <c:v>10057.23677196085</c:v>
                </c:pt>
                <c:pt idx="233">
                  <c:v>10114.722469341128</c:v>
                </c:pt>
                <c:pt idx="234">
                  <c:v>10158.247083233071</c:v>
                </c:pt>
                <c:pt idx="235">
                  <c:v>10187.686256884104</c:v>
                </c:pt>
                <c:pt idx="236">
                  <c:v>10204.017835551909</c:v>
                </c:pt>
                <c:pt idx="237">
                  <c:v>10206.638131698184</c:v>
                </c:pt>
                <c:pt idx="238">
                  <c:v>10194.579248587939</c:v>
                </c:pt>
                <c:pt idx="239">
                  <c:v>10169.884223290055</c:v>
                </c:pt>
                <c:pt idx="240">
                  <c:v>10132.096963673483</c:v>
                </c:pt>
                <c:pt idx="241">
                  <c:v>10079.137980044037</c:v>
                </c:pt>
                <c:pt idx="242">
                  <c:v>10013.939924979448</c:v>
                </c:pt>
                <c:pt idx="243">
                  <c:v>9936.6889466502071</c:v>
                </c:pt>
                <c:pt idx="244">
                  <c:v>9847.0688784891008</c:v>
                </c:pt>
                <c:pt idx="245">
                  <c:v>9744.119440610757</c:v>
                </c:pt>
                <c:pt idx="246">
                  <c:v>9629.7096549604648</c:v>
                </c:pt>
                <c:pt idx="247">
                  <c:v>9504.7837788229663</c:v>
                </c:pt>
                <c:pt idx="248">
                  <c:v>9369.40036948733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190-442D-BD58-5B49B037E7B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C$2:$C$250</c:f>
              <c:numCache>
                <c:formatCode>General</c:formatCode>
                <c:ptCount val="249"/>
                <c:pt idx="195">
                  <c:v>3874.8266915745994</c:v>
                </c:pt>
                <c:pt idx="196">
                  <c:v>4000.7649631137347</c:v>
                </c:pt>
                <c:pt idx="197">
                  <c:v>4126.3636197642336</c:v>
                </c:pt>
                <c:pt idx="198">
                  <c:v>4246.8519586359671</c:v>
                </c:pt>
                <c:pt idx="199">
                  <c:v>4357.7449058198672</c:v>
                </c:pt>
                <c:pt idx="200">
                  <c:v>4461.1798325185819</c:v>
                </c:pt>
                <c:pt idx="201">
                  <c:v>4561.4503701634731</c:v>
                </c:pt>
                <c:pt idx="202">
                  <c:v>4660.4655418011025</c:v>
                </c:pt>
                <c:pt idx="203">
                  <c:v>4757.6593438429773</c:v>
                </c:pt>
                <c:pt idx="204">
                  <c:v>4858.1037055510278</c:v>
                </c:pt>
                <c:pt idx="205">
                  <c:v>4955.2698137298621</c:v>
                </c:pt>
                <c:pt idx="206">
                  <c:v>5037.851718867676</c:v>
                </c:pt>
                <c:pt idx="207">
                  <c:v>5112.8062867582794</c:v>
                </c:pt>
                <c:pt idx="208">
                  <c:v>5184.8357063969961</c:v>
                </c:pt>
                <c:pt idx="209">
                  <c:v>5255.5396750814843</c:v>
                </c:pt>
                <c:pt idx="210">
                  <c:v>5325.598673688386</c:v>
                </c:pt>
                <c:pt idx="211">
                  <c:v>5394.5302687169533</c:v>
                </c:pt>
                <c:pt idx="212">
                  <c:v>5461.5112579097104</c:v>
                </c:pt>
                <c:pt idx="213">
                  <c:v>5523.106765469247</c:v>
                </c:pt>
                <c:pt idx="214">
                  <c:v>5579.9682808836278</c:v>
                </c:pt>
                <c:pt idx="215">
                  <c:v>5632.7848342359175</c:v>
                </c:pt>
                <c:pt idx="216">
                  <c:v>5681.9344968879614</c:v>
                </c:pt>
                <c:pt idx="217">
                  <c:v>5726.9117901050686</c:v>
                </c:pt>
                <c:pt idx="218">
                  <c:v>5768.6191703553777</c:v>
                </c:pt>
                <c:pt idx="219">
                  <c:v>5806.3310357463051</c:v>
                </c:pt>
                <c:pt idx="220">
                  <c:v>5840.2229265257083</c:v>
                </c:pt>
                <c:pt idx="221">
                  <c:v>5868.9282885581733</c:v>
                </c:pt>
                <c:pt idx="222">
                  <c:v>5893.066540476213</c:v>
                </c:pt>
                <c:pt idx="223">
                  <c:v>5913.1832379434609</c:v>
                </c:pt>
                <c:pt idx="224">
                  <c:v>5927.2707698645754</c:v>
                </c:pt>
                <c:pt idx="225">
                  <c:v>5936.7406334869083</c:v>
                </c:pt>
                <c:pt idx="226">
                  <c:v>5941.7682210099574</c:v>
                </c:pt>
                <c:pt idx="227">
                  <c:v>5941.4840299436837</c:v>
                </c:pt>
                <c:pt idx="228">
                  <c:v>5936.1953895340221</c:v>
                </c:pt>
                <c:pt idx="229">
                  <c:v>5926.0593653684864</c:v>
                </c:pt>
                <c:pt idx="230">
                  <c:v>5911.4925302807624</c:v>
                </c:pt>
                <c:pt idx="231">
                  <c:v>5891.1145246271153</c:v>
                </c:pt>
                <c:pt idx="232">
                  <c:v>5866.1678405466046</c:v>
                </c:pt>
                <c:pt idx="233">
                  <c:v>5836.6640093508631</c:v>
                </c:pt>
                <c:pt idx="234">
                  <c:v>5801.8842766630696</c:v>
                </c:pt>
                <c:pt idx="235">
                  <c:v>5762.0073052004482</c:v>
                </c:pt>
                <c:pt idx="236">
                  <c:v>5718.2310743467178</c:v>
                </c:pt>
                <c:pt idx="237">
                  <c:v>5670.1237920150879</c:v>
                </c:pt>
                <c:pt idx="238">
                  <c:v>5616.8306867096635</c:v>
                </c:pt>
                <c:pt idx="239">
                  <c:v>5560.449341745787</c:v>
                </c:pt>
                <c:pt idx="240">
                  <c:v>5500.5212514270279</c:v>
                </c:pt>
                <c:pt idx="241">
                  <c:v>5434.9249047022322</c:v>
                </c:pt>
                <c:pt idx="242">
                  <c:v>5366.4713539503809</c:v>
                </c:pt>
                <c:pt idx="243">
                  <c:v>5295.1997817793708</c:v>
                </c:pt>
                <c:pt idx="244">
                  <c:v>5220.5883678919135</c:v>
                </c:pt>
                <c:pt idx="245">
                  <c:v>5141.6385683384124</c:v>
                </c:pt>
                <c:pt idx="246">
                  <c:v>5059.7844572957156</c:v>
                </c:pt>
                <c:pt idx="247">
                  <c:v>4975.6441177210791</c:v>
                </c:pt>
                <c:pt idx="248">
                  <c:v>4888.91526968881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D$2:$D$250</c:f>
              <c:numCache>
                <c:formatCode>General</c:formatCode>
                <c:ptCount val="249"/>
                <c:pt idx="195">
                  <c:v>3883.7724957326491</c:v>
                </c:pt>
                <c:pt idx="196">
                  <c:v>4021.8651703173618</c:v>
                </c:pt>
                <c:pt idx="197">
                  <c:v>4163.0571947267417</c:v>
                </c:pt>
                <c:pt idx="198">
                  <c:v>4302.6712117083389</c:v>
                </c:pt>
                <c:pt idx="199">
                  <c:v>4436.3983667800385</c:v>
                </c:pt>
                <c:pt idx="200">
                  <c:v>4566.3664649222883</c:v>
                </c:pt>
                <c:pt idx="201">
                  <c:v>4696.9225458938081</c:v>
                </c:pt>
                <c:pt idx="202">
                  <c:v>4829.8886898653491</c:v>
                </c:pt>
                <c:pt idx="203">
                  <c:v>4964.6851723175714</c:v>
                </c:pt>
                <c:pt idx="204">
                  <c:v>5106.2691649077651</c:v>
                </c:pt>
                <c:pt idx="205">
                  <c:v>5248.0490617810719</c:v>
                </c:pt>
                <c:pt idx="206">
                  <c:v>5378.5801272190911</c:v>
                </c:pt>
                <c:pt idx="207">
                  <c:v>5504.7041800399766</c:v>
                </c:pt>
                <c:pt idx="208">
                  <c:v>5630.9313152074346</c:v>
                </c:pt>
                <c:pt idx="209">
                  <c:v>5758.5854770970145</c:v>
                </c:pt>
                <c:pt idx="210">
                  <c:v>5887.8355049395113</c:v>
                </c:pt>
                <c:pt idx="211">
                  <c:v>6018.036375473841</c:v>
                </c:pt>
                <c:pt idx="212">
                  <c:v>6148.1174291578545</c:v>
                </c:pt>
                <c:pt idx="213">
                  <c:v>6274.4753812746858</c:v>
                </c:pt>
                <c:pt idx="214">
                  <c:v>6397.4250467610227</c:v>
                </c:pt>
                <c:pt idx="215">
                  <c:v>6517.4063018172365</c:v>
                </c:pt>
                <c:pt idx="216">
                  <c:v>6634.4979616464334</c:v>
                </c:pt>
                <c:pt idx="217">
                  <c:v>6747.8381258254449</c:v>
                </c:pt>
                <c:pt idx="218">
                  <c:v>6858.0152150647627</c:v>
                </c:pt>
                <c:pt idx="219">
                  <c:v>6964.0475227458237</c:v>
                </c:pt>
                <c:pt idx="220">
                  <c:v>7065.8127870876533</c:v>
                </c:pt>
                <c:pt idx="221">
                  <c:v>7161.6785672445494</c:v>
                </c:pt>
                <c:pt idx="222">
                  <c:v>7251.9875202190015</c:v>
                </c:pt>
                <c:pt idx="223">
                  <c:v>7336.997413029294</c:v>
                </c:pt>
                <c:pt idx="224">
                  <c:v>7414.4261695508612</c:v>
                </c:pt>
                <c:pt idx="225">
                  <c:v>7485.4020724328948</c:v>
                </c:pt>
                <c:pt idx="226">
                  <c:v>7549.8552017784714</c:v>
                </c:pt>
                <c:pt idx="227">
                  <c:v>7606.6812658407434</c:v>
                </c:pt>
                <c:pt idx="228">
                  <c:v>7655.9601133157566</c:v>
                </c:pt>
                <c:pt idx="229">
                  <c:v>7697.6356567036783</c:v>
                </c:pt>
                <c:pt idx="230">
                  <c:v>7731.9422521323904</c:v>
                </c:pt>
                <c:pt idx="231">
                  <c:v>7757.3172289474414</c:v>
                </c:pt>
                <c:pt idx="232">
                  <c:v>7774.8523594207973</c:v>
                </c:pt>
                <c:pt idx="233">
                  <c:v>7784.4222024789415</c:v>
                </c:pt>
                <c:pt idx="234">
                  <c:v>7785.1904771195777</c:v>
                </c:pt>
                <c:pt idx="235">
                  <c:v>7777.2303691396628</c:v>
                </c:pt>
                <c:pt idx="236">
                  <c:v>7761.6674912508715</c:v>
                </c:pt>
                <c:pt idx="237">
                  <c:v>7738.0130518590768</c:v>
                </c:pt>
                <c:pt idx="238">
                  <c:v>7705.3756244397237</c:v>
                </c:pt>
                <c:pt idx="239">
                  <c:v>7665.8362387460747</c:v>
                </c:pt>
                <c:pt idx="240">
                  <c:v>7618.939138221861</c:v>
                </c:pt>
                <c:pt idx="241">
                  <c:v>7562.5763308956839</c:v>
                </c:pt>
                <c:pt idx="242">
                  <c:v>7499.603342788907</c:v>
                </c:pt>
                <c:pt idx="243">
                  <c:v>7430.1080738058808</c:v>
                </c:pt>
                <c:pt idx="244">
                  <c:v>7353.6387736028446</c:v>
                </c:pt>
                <c:pt idx="245">
                  <c:v>7269.1761846328609</c:v>
                </c:pt>
                <c:pt idx="246">
                  <c:v>7178.3251169050309</c:v>
                </c:pt>
                <c:pt idx="247">
                  <c:v>7081.8141108436248</c:v>
                </c:pt>
                <c:pt idx="248">
                  <c:v>6979.463472041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6-4360-A02D-44DD6057B4BC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F$2:$F$250</c:f>
              <c:numCache>
                <c:formatCode>General</c:formatCode>
                <c:ptCount val="24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cat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Algn val="ctr"/>
        <c:lblOffset val="100"/>
        <c:tickLblSkip val="7"/>
        <c:noMultiLvlLbl val="1"/>
      </c:cat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ayout>
        <c:manualLayout>
          <c:xMode val="edge"/>
          <c:yMode val="edge"/>
          <c:x val="0.20000242690338468"/>
          <c:y val="4.6874997116449491E-2"/>
          <c:w val="0.14188217964413682"/>
          <c:h val="4.7962349411764922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4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G$2:$G$250</c:f>
              <c:numCache>
                <c:formatCode>General</c:formatCode>
                <c:ptCount val="249"/>
                <c:pt idx="0">
                  <c:v>555</c:v>
                </c:pt>
                <c:pt idx="1">
                  <c:v>559</c:v>
                </c:pt>
                <c:pt idx="2">
                  <c:v>564</c:v>
                </c:pt>
                <c:pt idx="3">
                  <c:v>545</c:v>
                </c:pt>
                <c:pt idx="4">
                  <c:v>503</c:v>
                </c:pt>
                <c:pt idx="5">
                  <c:v>464</c:v>
                </c:pt>
                <c:pt idx="6">
                  <c:v>439</c:v>
                </c:pt>
                <c:pt idx="7">
                  <c:v>412</c:v>
                </c:pt>
                <c:pt idx="8">
                  <c:v>416</c:v>
                </c:pt>
                <c:pt idx="9">
                  <c:v>424</c:v>
                </c:pt>
                <c:pt idx="10">
                  <c:v>401</c:v>
                </c:pt>
                <c:pt idx="11">
                  <c:v>379</c:v>
                </c:pt>
                <c:pt idx="12">
                  <c:v>369</c:v>
                </c:pt>
                <c:pt idx="13">
                  <c:v>343</c:v>
                </c:pt>
                <c:pt idx="14">
                  <c:v>308</c:v>
                </c:pt>
                <c:pt idx="15">
                  <c:v>305</c:v>
                </c:pt>
                <c:pt idx="16">
                  <c:v>296</c:v>
                </c:pt>
                <c:pt idx="17">
                  <c:v>278</c:v>
                </c:pt>
                <c:pt idx="18">
                  <c:v>250</c:v>
                </c:pt>
                <c:pt idx="19">
                  <c:v>219</c:v>
                </c:pt>
                <c:pt idx="20">
                  <c:v>193</c:v>
                </c:pt>
                <c:pt idx="21">
                  <c:v>190</c:v>
                </c:pt>
                <c:pt idx="22">
                  <c:v>188</c:v>
                </c:pt>
                <c:pt idx="23">
                  <c:v>184</c:v>
                </c:pt>
                <c:pt idx="24">
                  <c:v>163</c:v>
                </c:pt>
                <c:pt idx="25">
                  <c:v>155</c:v>
                </c:pt>
                <c:pt idx="26">
                  <c:v>146</c:v>
                </c:pt>
                <c:pt idx="27">
                  <c:v>126</c:v>
                </c:pt>
                <c:pt idx="28">
                  <c:v>113</c:v>
                </c:pt>
                <c:pt idx="29">
                  <c:v>113</c:v>
                </c:pt>
                <c:pt idx="30">
                  <c:v>118</c:v>
                </c:pt>
                <c:pt idx="31">
                  <c:v>98</c:v>
                </c:pt>
                <c:pt idx="32">
                  <c:v>91</c:v>
                </c:pt>
                <c:pt idx="33">
                  <c:v>86</c:v>
                </c:pt>
                <c:pt idx="34">
                  <c:v>72</c:v>
                </c:pt>
                <c:pt idx="35">
                  <c:v>60</c:v>
                </c:pt>
                <c:pt idx="36">
                  <c:v>61</c:v>
                </c:pt>
                <c:pt idx="37">
                  <c:v>58</c:v>
                </c:pt>
                <c:pt idx="38">
                  <c:v>59</c:v>
                </c:pt>
                <c:pt idx="39">
                  <c:v>56</c:v>
                </c:pt>
                <c:pt idx="40">
                  <c:v>53</c:v>
                </c:pt>
                <c:pt idx="41">
                  <c:v>38</c:v>
                </c:pt>
                <c:pt idx="42">
                  <c:v>38</c:v>
                </c:pt>
                <c:pt idx="43">
                  <c:v>35</c:v>
                </c:pt>
                <c:pt idx="44">
                  <c:v>37</c:v>
                </c:pt>
                <c:pt idx="45">
                  <c:v>27</c:v>
                </c:pt>
                <c:pt idx="46">
                  <c:v>25</c:v>
                </c:pt>
                <c:pt idx="47">
                  <c:v>24</c:v>
                </c:pt>
                <c:pt idx="48">
                  <c:v>22</c:v>
                </c:pt>
                <c:pt idx="49">
                  <c:v>18</c:v>
                </c:pt>
                <c:pt idx="50">
                  <c:v>20</c:v>
                </c:pt>
                <c:pt idx="51">
                  <c:v>18</c:v>
                </c:pt>
                <c:pt idx="52">
                  <c:v>17</c:v>
                </c:pt>
                <c:pt idx="53">
                  <c:v>14</c:v>
                </c:pt>
                <c:pt idx="54">
                  <c:v>16</c:v>
                </c:pt>
                <c:pt idx="55">
                  <c:v>16</c:v>
                </c:pt>
                <c:pt idx="56">
                  <c:v>13</c:v>
                </c:pt>
                <c:pt idx="57">
                  <c:v>12</c:v>
                </c:pt>
                <c:pt idx="58">
                  <c:v>14</c:v>
                </c:pt>
                <c:pt idx="59">
                  <c:v>15</c:v>
                </c:pt>
                <c:pt idx="60">
                  <c:v>13</c:v>
                </c:pt>
                <c:pt idx="61">
                  <c:v>14</c:v>
                </c:pt>
                <c:pt idx="62">
                  <c:v>7</c:v>
                </c:pt>
                <c:pt idx="63">
                  <c:v>6</c:v>
                </c:pt>
                <c:pt idx="64">
                  <c:v>7</c:v>
                </c:pt>
                <c:pt idx="65">
                  <c:v>11</c:v>
                </c:pt>
                <c:pt idx="66">
                  <c:v>11</c:v>
                </c:pt>
                <c:pt idx="67">
                  <c:v>12</c:v>
                </c:pt>
                <c:pt idx="68">
                  <c:v>11</c:v>
                </c:pt>
                <c:pt idx="69">
                  <c:v>8</c:v>
                </c:pt>
                <c:pt idx="70">
                  <c:v>7</c:v>
                </c:pt>
                <c:pt idx="71">
                  <c:v>8</c:v>
                </c:pt>
                <c:pt idx="72">
                  <c:v>9</c:v>
                </c:pt>
                <c:pt idx="73">
                  <c:v>8</c:v>
                </c:pt>
                <c:pt idx="74">
                  <c:v>10</c:v>
                </c:pt>
                <c:pt idx="75">
                  <c:v>10</c:v>
                </c:pt>
                <c:pt idx="76">
                  <c:v>10</c:v>
                </c:pt>
                <c:pt idx="77">
                  <c:v>9</c:v>
                </c:pt>
                <c:pt idx="78">
                  <c:v>10</c:v>
                </c:pt>
                <c:pt idx="79">
                  <c:v>10</c:v>
                </c:pt>
                <c:pt idx="80">
                  <c:v>6</c:v>
                </c:pt>
                <c:pt idx="81">
                  <c:v>9</c:v>
                </c:pt>
                <c:pt idx="82">
                  <c:v>14</c:v>
                </c:pt>
                <c:pt idx="83">
                  <c:v>12</c:v>
                </c:pt>
                <c:pt idx="84">
                  <c:v>9</c:v>
                </c:pt>
                <c:pt idx="85">
                  <c:v>10</c:v>
                </c:pt>
                <c:pt idx="86">
                  <c:v>9</c:v>
                </c:pt>
                <c:pt idx="87">
                  <c:v>10</c:v>
                </c:pt>
                <c:pt idx="88">
                  <c:v>11</c:v>
                </c:pt>
                <c:pt idx="89">
                  <c:v>14</c:v>
                </c:pt>
                <c:pt idx="90">
                  <c:v>16</c:v>
                </c:pt>
                <c:pt idx="91">
                  <c:v>17</c:v>
                </c:pt>
                <c:pt idx="92">
                  <c:v>16</c:v>
                </c:pt>
                <c:pt idx="93">
                  <c:v>15</c:v>
                </c:pt>
                <c:pt idx="94">
                  <c:v>17</c:v>
                </c:pt>
                <c:pt idx="95">
                  <c:v>18</c:v>
                </c:pt>
                <c:pt idx="96">
                  <c:v>17</c:v>
                </c:pt>
                <c:pt idx="97">
                  <c:v>15</c:v>
                </c:pt>
                <c:pt idx="98">
                  <c:v>13</c:v>
                </c:pt>
                <c:pt idx="99">
                  <c:v>16</c:v>
                </c:pt>
                <c:pt idx="100">
                  <c:v>18</c:v>
                </c:pt>
                <c:pt idx="101">
                  <c:v>18</c:v>
                </c:pt>
                <c:pt idx="102">
                  <c:v>20</c:v>
                </c:pt>
                <c:pt idx="103">
                  <c:v>20</c:v>
                </c:pt>
                <c:pt idx="104">
                  <c:v>18</c:v>
                </c:pt>
                <c:pt idx="105">
                  <c:v>19</c:v>
                </c:pt>
                <c:pt idx="106">
                  <c:v>16</c:v>
                </c:pt>
                <c:pt idx="107">
                  <c:v>18</c:v>
                </c:pt>
                <c:pt idx="108">
                  <c:v>18</c:v>
                </c:pt>
                <c:pt idx="109">
                  <c:v>19</c:v>
                </c:pt>
                <c:pt idx="110">
                  <c:v>20</c:v>
                </c:pt>
                <c:pt idx="111">
                  <c:v>18</c:v>
                </c:pt>
                <c:pt idx="112">
                  <c:v>16</c:v>
                </c:pt>
                <c:pt idx="113">
                  <c:v>17</c:v>
                </c:pt>
                <c:pt idx="114">
                  <c:v>19</c:v>
                </c:pt>
                <c:pt idx="115">
                  <c:v>16</c:v>
                </c:pt>
                <c:pt idx="116">
                  <c:v>18</c:v>
                </c:pt>
                <c:pt idx="117">
                  <c:v>16</c:v>
                </c:pt>
                <c:pt idx="118">
                  <c:v>14</c:v>
                </c:pt>
                <c:pt idx="119">
                  <c:v>13</c:v>
                </c:pt>
                <c:pt idx="120">
                  <c:v>9</c:v>
                </c:pt>
                <c:pt idx="121">
                  <c:v>10</c:v>
                </c:pt>
                <c:pt idx="122">
                  <c:v>10</c:v>
                </c:pt>
                <c:pt idx="123">
                  <c:v>12</c:v>
                </c:pt>
                <c:pt idx="124">
                  <c:v>14</c:v>
                </c:pt>
                <c:pt idx="125">
                  <c:v>14</c:v>
                </c:pt>
                <c:pt idx="126">
                  <c:v>16</c:v>
                </c:pt>
                <c:pt idx="127">
                  <c:v>16</c:v>
                </c:pt>
                <c:pt idx="128">
                  <c:v>23</c:v>
                </c:pt>
                <c:pt idx="129">
                  <c:v>26</c:v>
                </c:pt>
                <c:pt idx="130">
                  <c:v>24</c:v>
                </c:pt>
                <c:pt idx="131">
                  <c:v>22</c:v>
                </c:pt>
                <c:pt idx="132">
                  <c:v>24</c:v>
                </c:pt>
                <c:pt idx="133">
                  <c:v>27</c:v>
                </c:pt>
                <c:pt idx="134">
                  <c:v>31</c:v>
                </c:pt>
                <c:pt idx="135">
                  <c:v>35</c:v>
                </c:pt>
                <c:pt idx="136">
                  <c:v>41</c:v>
                </c:pt>
                <c:pt idx="137">
                  <c:v>38</c:v>
                </c:pt>
                <c:pt idx="138">
                  <c:v>43</c:v>
                </c:pt>
                <c:pt idx="139">
                  <c:v>46</c:v>
                </c:pt>
                <c:pt idx="140">
                  <c:v>43</c:v>
                </c:pt>
                <c:pt idx="141">
                  <c:v>40</c:v>
                </c:pt>
                <c:pt idx="142">
                  <c:v>42</c:v>
                </c:pt>
                <c:pt idx="143">
                  <c:v>40</c:v>
                </c:pt>
                <c:pt idx="144">
                  <c:v>38</c:v>
                </c:pt>
                <c:pt idx="145">
                  <c:v>38</c:v>
                </c:pt>
                <c:pt idx="146">
                  <c:v>42</c:v>
                </c:pt>
                <c:pt idx="147">
                  <c:v>46</c:v>
                </c:pt>
                <c:pt idx="148">
                  <c:v>45</c:v>
                </c:pt>
                <c:pt idx="149">
                  <c:v>49</c:v>
                </c:pt>
                <c:pt idx="150">
                  <c:v>53</c:v>
                </c:pt>
                <c:pt idx="151">
                  <c:v>51</c:v>
                </c:pt>
                <c:pt idx="152">
                  <c:v>50</c:v>
                </c:pt>
                <c:pt idx="153">
                  <c:v>45</c:v>
                </c:pt>
                <c:pt idx="154">
                  <c:v>44</c:v>
                </c:pt>
                <c:pt idx="155">
                  <c:v>52</c:v>
                </c:pt>
                <c:pt idx="156">
                  <c:v>58</c:v>
                </c:pt>
                <c:pt idx="157">
                  <c:v>72</c:v>
                </c:pt>
                <c:pt idx="158">
                  <c:v>86</c:v>
                </c:pt>
                <c:pt idx="159">
                  <c:v>75</c:v>
                </c:pt>
                <c:pt idx="160">
                  <c:v>78</c:v>
                </c:pt>
                <c:pt idx="161">
                  <c:v>77</c:v>
                </c:pt>
                <c:pt idx="162">
                  <c:v>77</c:v>
                </c:pt>
                <c:pt idx="163">
                  <c:v>99</c:v>
                </c:pt>
                <c:pt idx="164">
                  <c:v>113</c:v>
                </c:pt>
                <c:pt idx="165">
                  <c:v>114</c:v>
                </c:pt>
                <c:pt idx="166">
                  <c:v>116</c:v>
                </c:pt>
                <c:pt idx="167">
                  <c:v>115</c:v>
                </c:pt>
                <c:pt idx="168">
                  <c:v>112</c:v>
                </c:pt>
                <c:pt idx="169">
                  <c:v>116</c:v>
                </c:pt>
                <c:pt idx="170">
                  <c:v>133</c:v>
                </c:pt>
                <c:pt idx="171">
                  <c:v>146</c:v>
                </c:pt>
                <c:pt idx="172">
                  <c:v>138</c:v>
                </c:pt>
                <c:pt idx="173">
                  <c:v>142</c:v>
                </c:pt>
                <c:pt idx="174">
                  <c:v>153</c:v>
                </c:pt>
                <c:pt idx="175">
                  <c:v>151</c:v>
                </c:pt>
                <c:pt idx="176">
                  <c:v>163</c:v>
                </c:pt>
                <c:pt idx="177">
                  <c:v>171</c:v>
                </c:pt>
                <c:pt idx="178">
                  <c:v>193</c:v>
                </c:pt>
                <c:pt idx="179">
                  <c:v>215</c:v>
                </c:pt>
                <c:pt idx="180">
                  <c:v>209</c:v>
                </c:pt>
                <c:pt idx="181">
                  <c:v>233</c:v>
                </c:pt>
                <c:pt idx="182">
                  <c:v>238</c:v>
                </c:pt>
                <c:pt idx="183">
                  <c:v>267</c:v>
                </c:pt>
                <c:pt idx="184">
                  <c:v>311</c:v>
                </c:pt>
                <c:pt idx="185">
                  <c:v>318</c:v>
                </c:pt>
                <c:pt idx="186">
                  <c:v>345</c:v>
                </c:pt>
                <c:pt idx="187">
                  <c:v>345</c:v>
                </c:pt>
                <c:pt idx="188">
                  <c:v>384</c:v>
                </c:pt>
                <c:pt idx="189">
                  <c:v>389</c:v>
                </c:pt>
                <c:pt idx="190">
                  <c:v>424</c:v>
                </c:pt>
                <c:pt idx="191">
                  <c:v>471</c:v>
                </c:pt>
                <c:pt idx="192">
                  <c:v>487</c:v>
                </c:pt>
                <c:pt idx="193">
                  <c:v>511</c:v>
                </c:pt>
                <c:pt idx="194">
                  <c:v>519</c:v>
                </c:pt>
                <c:pt idx="195">
                  <c:v>527</c:v>
                </c:pt>
                <c:pt idx="196">
                  <c:v>561</c:v>
                </c:pt>
                <c:pt idx="197">
                  <c:v>601</c:v>
                </c:pt>
                <c:pt idx="198">
                  <c:v>644</c:v>
                </c:pt>
                <c:pt idx="199">
                  <c:v>650</c:v>
                </c:pt>
                <c:pt idx="200">
                  <c:v>690</c:v>
                </c:pt>
                <c:pt idx="201">
                  <c:v>715</c:v>
                </c:pt>
                <c:pt idx="202">
                  <c:v>744</c:v>
                </c:pt>
                <c:pt idx="203">
                  <c:v>752</c:v>
                </c:pt>
                <c:pt idx="204">
                  <c:v>778</c:v>
                </c:pt>
                <c:pt idx="205">
                  <c:v>811</c:v>
                </c:pt>
                <c:pt idx="206">
                  <c:v>854</c:v>
                </c:pt>
                <c:pt idx="207">
                  <c:v>858</c:v>
                </c:pt>
                <c:pt idx="208">
                  <c:v>881</c:v>
                </c:pt>
                <c:pt idx="209">
                  <c:v>903</c:v>
                </c:pt>
                <c:pt idx="210">
                  <c:v>9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58-4843-A083-9E75CCD15D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rgbClr val="C00000"/>
              </a:solidFill>
              <a:prstDash val="sysDot"/>
              <a:round/>
            </a:ln>
            <a:effectLst/>
          </c:spPr>
          <c:marker>
            <c:symbol val="none"/>
          </c:marker>
          <c:val>
            <c:numRef>
              <c:f>Sheet1!$E$2:$E$250</c:f>
              <c:numCache>
                <c:formatCode>General</c:formatCode>
                <c:ptCount val="249"/>
                <c:pt idx="0">
                  <c:v>570.10795305222791</c:v>
                </c:pt>
                <c:pt idx="1">
                  <c:v>534.15608617359487</c:v>
                </c:pt>
                <c:pt idx="2">
                  <c:v>501.37540882674909</c:v>
                </c:pt>
                <c:pt idx="3">
                  <c:v>470.52362934014621</c:v>
                </c:pt>
                <c:pt idx="4">
                  <c:v>439.02795833046144</c:v>
                </c:pt>
                <c:pt idx="5">
                  <c:v>410.56102076910173</c:v>
                </c:pt>
                <c:pt idx="6">
                  <c:v>386.34144938123353</c:v>
                </c:pt>
                <c:pt idx="7">
                  <c:v>365.92497822350947</c:v>
                </c:pt>
                <c:pt idx="8">
                  <c:v>348.02401661906225</c:v>
                </c:pt>
                <c:pt idx="9">
                  <c:v>331.97867466843212</c:v>
                </c:pt>
                <c:pt idx="10">
                  <c:v>316.791395270762</c:v>
                </c:pt>
                <c:pt idx="11">
                  <c:v>301.98847255192561</c:v>
                </c:pt>
                <c:pt idx="12">
                  <c:v>289.96940788472097</c:v>
                </c:pt>
                <c:pt idx="13">
                  <c:v>278.83216002770132</c:v>
                </c:pt>
                <c:pt idx="14">
                  <c:v>267.46431870467558</c:v>
                </c:pt>
                <c:pt idx="15">
                  <c:v>256.31716164052403</c:v>
                </c:pt>
                <c:pt idx="16">
                  <c:v>244.51593245954624</c:v>
                </c:pt>
                <c:pt idx="17">
                  <c:v>233.30953979730097</c:v>
                </c:pt>
                <c:pt idx="18">
                  <c:v>221.9447174997882</c:v>
                </c:pt>
                <c:pt idx="19">
                  <c:v>208.81342646194756</c:v>
                </c:pt>
                <c:pt idx="20">
                  <c:v>194.88789174759063</c:v>
                </c:pt>
                <c:pt idx="21">
                  <c:v>183.91293138301941</c:v>
                </c:pt>
                <c:pt idx="22">
                  <c:v>173.88213548500286</c:v>
                </c:pt>
                <c:pt idx="23">
                  <c:v>164.85477590509456</c:v>
                </c:pt>
                <c:pt idx="24">
                  <c:v>154.82514149213446</c:v>
                </c:pt>
                <c:pt idx="25">
                  <c:v>145.21039074756374</c:v>
                </c:pt>
                <c:pt idx="26">
                  <c:v>138.52114016004091</c:v>
                </c:pt>
                <c:pt idx="27">
                  <c:v>132.41667802218055</c:v>
                </c:pt>
                <c:pt idx="28">
                  <c:v>125.36051020434324</c:v>
                </c:pt>
                <c:pt idx="29">
                  <c:v>118.4744157487125</c:v>
                </c:pt>
                <c:pt idx="30">
                  <c:v>112.33680009981101</c:v>
                </c:pt>
                <c:pt idx="31">
                  <c:v>106.07181325937087</c:v>
                </c:pt>
                <c:pt idx="32">
                  <c:v>100.0819240351974</c:v>
                </c:pt>
                <c:pt idx="33">
                  <c:v>94.166891086978353</c:v>
                </c:pt>
                <c:pt idx="34">
                  <c:v>87.944082037022042</c:v>
                </c:pt>
                <c:pt idx="35">
                  <c:v>81.425152424447901</c:v>
                </c:pt>
                <c:pt idx="36">
                  <c:v>75.457505781802297</c:v>
                </c:pt>
                <c:pt idx="37">
                  <c:v>69.832341210114819</c:v>
                </c:pt>
                <c:pt idx="38">
                  <c:v>65.515114555214069</c:v>
                </c:pt>
                <c:pt idx="39">
                  <c:v>61.952406646071566</c:v>
                </c:pt>
                <c:pt idx="40">
                  <c:v>58.454653021748207</c:v>
                </c:pt>
                <c:pt idx="41">
                  <c:v>55.12686745567909</c:v>
                </c:pt>
                <c:pt idx="42">
                  <c:v>52.86983795293424</c:v>
                </c:pt>
                <c:pt idx="43">
                  <c:v>50.480443163154469</c:v>
                </c:pt>
                <c:pt idx="44">
                  <c:v>48.126885569027088</c:v>
                </c:pt>
                <c:pt idx="45">
                  <c:v>44.590039585728441</c:v>
                </c:pt>
                <c:pt idx="46">
                  <c:v>41.434578046871039</c:v>
                </c:pt>
                <c:pt idx="47">
                  <c:v>38.143923300352995</c:v>
                </c:pt>
                <c:pt idx="48">
                  <c:v>35.602431977757675</c:v>
                </c:pt>
                <c:pt idx="49">
                  <c:v>33.075543074953032</c:v>
                </c:pt>
                <c:pt idx="50">
                  <c:v>31.555250779404897</c:v>
                </c:pt>
                <c:pt idx="51">
                  <c:v>29.560367730168903</c:v>
                </c:pt>
                <c:pt idx="52">
                  <c:v>28.179034284783864</c:v>
                </c:pt>
                <c:pt idx="53">
                  <c:v>26.109294174054927</c:v>
                </c:pt>
                <c:pt idx="54">
                  <c:v>24.830757253576387</c:v>
                </c:pt>
                <c:pt idx="55">
                  <c:v>24.32087287502959</c:v>
                </c:pt>
                <c:pt idx="56">
                  <c:v>23.417456047780135</c:v>
                </c:pt>
                <c:pt idx="57">
                  <c:v>21.751550273329052</c:v>
                </c:pt>
                <c:pt idx="58">
                  <c:v>20.886236577746956</c:v>
                </c:pt>
                <c:pt idx="59">
                  <c:v>20.652207702030775</c:v>
                </c:pt>
                <c:pt idx="60">
                  <c:v>20.304731351979612</c:v>
                </c:pt>
                <c:pt idx="61">
                  <c:v>20.407720586527489</c:v>
                </c:pt>
                <c:pt idx="62">
                  <c:v>18.862479838318585</c:v>
                </c:pt>
                <c:pt idx="63">
                  <c:v>17.948539642750632</c:v>
                </c:pt>
                <c:pt idx="64">
                  <c:v>17.524188612977252</c:v>
                </c:pt>
                <c:pt idx="65">
                  <c:v>18.207189848220697</c:v>
                </c:pt>
                <c:pt idx="66">
                  <c:v>18.65674692024081</c:v>
                </c:pt>
                <c:pt idx="67">
                  <c:v>18.973527693615395</c:v>
                </c:pt>
                <c:pt idx="68">
                  <c:v>18.701439840553796</c:v>
                </c:pt>
                <c:pt idx="69">
                  <c:v>19.034357591734878</c:v>
                </c:pt>
                <c:pt idx="70">
                  <c:v>19.601498949868549</c:v>
                </c:pt>
                <c:pt idx="71">
                  <c:v>20.517258353282852</c:v>
                </c:pt>
                <c:pt idx="72">
                  <c:v>19.883305119497148</c:v>
                </c:pt>
                <c:pt idx="73">
                  <c:v>19.045188566221853</c:v>
                </c:pt>
                <c:pt idx="74">
                  <c:v>19.42180003109414</c:v>
                </c:pt>
                <c:pt idx="75">
                  <c:v>19.761605850058423</c:v>
                </c:pt>
                <c:pt idx="76">
                  <c:v>20.79511718243176</c:v>
                </c:pt>
                <c:pt idx="77">
                  <c:v>21.194382587163521</c:v>
                </c:pt>
                <c:pt idx="78">
                  <c:v>21.312443616489819</c:v>
                </c:pt>
                <c:pt idx="79">
                  <c:v>21.109872987369467</c:v>
                </c:pt>
                <c:pt idx="80">
                  <c:v>19.931774600039276</c:v>
                </c:pt>
                <c:pt idx="81">
                  <c:v>18.854946500365749</c:v>
                </c:pt>
                <c:pt idx="82">
                  <c:v>18.901794324351744</c:v>
                </c:pt>
                <c:pt idx="83">
                  <c:v>18.602755358868588</c:v>
                </c:pt>
                <c:pt idx="84">
                  <c:v>17.715272429577915</c:v>
                </c:pt>
                <c:pt idx="85">
                  <c:v>16.548392342065764</c:v>
                </c:pt>
                <c:pt idx="86">
                  <c:v>15.823821166875478</c:v>
                </c:pt>
                <c:pt idx="87">
                  <c:v>16.599228385888811</c:v>
                </c:pt>
                <c:pt idx="88">
                  <c:v>16.765250790045521</c:v>
                </c:pt>
                <c:pt idx="89">
                  <c:v>16.172650881111238</c:v>
                </c:pt>
                <c:pt idx="90">
                  <c:v>16.126421196711384</c:v>
                </c:pt>
                <c:pt idx="91">
                  <c:v>17.17350780958219</c:v>
                </c:pt>
                <c:pt idx="92">
                  <c:v>18.497843906943508</c:v>
                </c:pt>
                <c:pt idx="93">
                  <c:v>19.295927658249266</c:v>
                </c:pt>
                <c:pt idx="94">
                  <c:v>20.412457339760746</c:v>
                </c:pt>
                <c:pt idx="95">
                  <c:v>21.234176573399438</c:v>
                </c:pt>
                <c:pt idx="96">
                  <c:v>21.516741695247401</c:v>
                </c:pt>
                <c:pt idx="97">
                  <c:v>20.996714237616597</c:v>
                </c:pt>
                <c:pt idx="98">
                  <c:v>19.711169716260393</c:v>
                </c:pt>
                <c:pt idx="99">
                  <c:v>18.83193718212619</c:v>
                </c:pt>
                <c:pt idx="100">
                  <c:v>18.769414919672293</c:v>
                </c:pt>
                <c:pt idx="101">
                  <c:v>18.171235690546013</c:v>
                </c:pt>
                <c:pt idx="102">
                  <c:v>17.848824447843697</c:v>
                </c:pt>
                <c:pt idx="103">
                  <c:v>17.74579902129387</c:v>
                </c:pt>
                <c:pt idx="104">
                  <c:v>18.261682427362341</c:v>
                </c:pt>
                <c:pt idx="105">
                  <c:v>19.166836067283782</c:v>
                </c:pt>
                <c:pt idx="106">
                  <c:v>19.0314714040497</c:v>
                </c:pt>
                <c:pt idx="107">
                  <c:v>18.896713172572962</c:v>
                </c:pt>
                <c:pt idx="108">
                  <c:v>18.710243993840727</c:v>
                </c:pt>
                <c:pt idx="109">
                  <c:v>18.148743668593685</c:v>
                </c:pt>
                <c:pt idx="110">
                  <c:v>17.846909051340639</c:v>
                </c:pt>
                <c:pt idx="111">
                  <c:v>17.309303639434141</c:v>
                </c:pt>
                <c:pt idx="112">
                  <c:v>16.878149314909834</c:v>
                </c:pt>
                <c:pt idx="113">
                  <c:v>16.988578375724725</c:v>
                </c:pt>
                <c:pt idx="114">
                  <c:v>17.243297264538963</c:v>
                </c:pt>
                <c:pt idx="115">
                  <c:v>17.249290095981163</c:v>
                </c:pt>
                <c:pt idx="116">
                  <c:v>17.858922360124993</c:v>
                </c:pt>
                <c:pt idx="117">
                  <c:v>18.000729112716563</c:v>
                </c:pt>
                <c:pt idx="118">
                  <c:v>18.153531165853167</c:v>
                </c:pt>
                <c:pt idx="119">
                  <c:v>18.258910061896398</c:v>
                </c:pt>
                <c:pt idx="120">
                  <c:v>17.669084486004301</c:v>
                </c:pt>
                <c:pt idx="121">
                  <c:v>17.047882754963588</c:v>
                </c:pt>
                <c:pt idx="122">
                  <c:v>16.869927930059976</c:v>
                </c:pt>
                <c:pt idx="123">
                  <c:v>16.426336164406436</c:v>
                </c:pt>
                <c:pt idx="124">
                  <c:v>16.329984531985126</c:v>
                </c:pt>
                <c:pt idx="125">
                  <c:v>16.523697440290736</c:v>
                </c:pt>
                <c:pt idx="126">
                  <c:v>17.178426672644445</c:v>
                </c:pt>
                <c:pt idx="127">
                  <c:v>18.306418981675151</c:v>
                </c:pt>
                <c:pt idx="128">
                  <c:v>19.626962504356893</c:v>
                </c:pt>
                <c:pt idx="129">
                  <c:v>21.004859120419258</c:v>
                </c:pt>
                <c:pt idx="130">
                  <c:v>21.822336590368465</c:v>
                </c:pt>
                <c:pt idx="131">
                  <c:v>22.00125872529043</c:v>
                </c:pt>
                <c:pt idx="132">
                  <c:v>22.088091166068327</c:v>
                </c:pt>
                <c:pt idx="133">
                  <c:v>22.008997426529682</c:v>
                </c:pt>
                <c:pt idx="134">
                  <c:v>22.465354721497352</c:v>
                </c:pt>
                <c:pt idx="135">
                  <c:v>22.481886723217681</c:v>
                </c:pt>
                <c:pt idx="136">
                  <c:v>22.69317309590636</c:v>
                </c:pt>
                <c:pt idx="137">
                  <c:v>23.072029437631087</c:v>
                </c:pt>
                <c:pt idx="138">
                  <c:v>24.647188366878506</c:v>
                </c:pt>
                <c:pt idx="139">
                  <c:v>26.036451716637007</c:v>
                </c:pt>
                <c:pt idx="140">
                  <c:v>27.318206627081771</c:v>
                </c:pt>
                <c:pt idx="141">
                  <c:v>28.200746392903</c:v>
                </c:pt>
                <c:pt idx="142">
                  <c:v>29.33575776507319</c:v>
                </c:pt>
                <c:pt idx="143">
                  <c:v>29.958777508740191</c:v>
                </c:pt>
                <c:pt idx="144">
                  <c:v>30.898712452410241</c:v>
                </c:pt>
                <c:pt idx="145">
                  <c:v>31.333378875578362</c:v>
                </c:pt>
                <c:pt idx="146">
                  <c:v>32.347652600025981</c:v>
                </c:pt>
                <c:pt idx="147">
                  <c:v>33.574070418621922</c:v>
                </c:pt>
                <c:pt idx="148">
                  <c:v>35.051162016808206</c:v>
                </c:pt>
                <c:pt idx="149">
                  <c:v>36.596507751371036</c:v>
                </c:pt>
                <c:pt idx="150">
                  <c:v>38.830754376393941</c:v>
                </c:pt>
                <c:pt idx="151">
                  <c:v>40.713120092054616</c:v>
                </c:pt>
                <c:pt idx="152">
                  <c:v>42.584881130553548</c:v>
                </c:pt>
                <c:pt idx="153">
                  <c:v>43.778938405484865</c:v>
                </c:pt>
                <c:pt idx="154">
                  <c:v>46.256895125656698</c:v>
                </c:pt>
                <c:pt idx="155">
                  <c:v>48.894586405417137</c:v>
                </c:pt>
                <c:pt idx="156">
                  <c:v>51.698195766061261</c:v>
                </c:pt>
                <c:pt idx="157">
                  <c:v>54.674248758673059</c:v>
                </c:pt>
                <c:pt idx="158">
                  <c:v>57.829814082741535</c:v>
                </c:pt>
                <c:pt idx="159">
                  <c:v>61.172221832374603</c:v>
                </c:pt>
                <c:pt idx="160">
                  <c:v>64.709053730113084</c:v>
                </c:pt>
                <c:pt idx="161">
                  <c:v>68.573121560084914</c:v>
                </c:pt>
                <c:pt idx="162">
                  <c:v>72.138175300190483</c:v>
                </c:pt>
                <c:pt idx="163">
                  <c:v>76.113448860245882</c:v>
                </c:pt>
                <c:pt idx="164">
                  <c:v>80.546530947764296</c:v>
                </c:pt>
                <c:pt idx="165">
                  <c:v>85.476813726655266</c:v>
                </c:pt>
                <c:pt idx="166">
                  <c:v>90.94031338108698</c:v>
                </c:pt>
                <c:pt idx="167">
                  <c:v>96.973148046959523</c:v>
                </c:pt>
                <c:pt idx="168">
                  <c:v>103.61024061804855</c:v>
                </c:pt>
                <c:pt idx="169">
                  <c:v>110.88687903083817</c:v>
                </c:pt>
                <c:pt idx="170">
                  <c:v>118.83777483177161</c:v>
                </c:pt>
                <c:pt idx="171">
                  <c:v>127.50006701902619</c:v>
                </c:pt>
                <c:pt idx="172">
                  <c:v>132.2587727808054</c:v>
                </c:pt>
                <c:pt idx="173">
                  <c:v>142.69644713869141</c:v>
                </c:pt>
                <c:pt idx="174">
                  <c:v>153.89479901818751</c:v>
                </c:pt>
                <c:pt idx="175">
                  <c:v>166.7215054503373</c:v>
                </c:pt>
                <c:pt idx="176">
                  <c:v>180.24331463612677</c:v>
                </c:pt>
                <c:pt idx="177">
                  <c:v>194.25317435385207</c:v>
                </c:pt>
                <c:pt idx="178">
                  <c:v>209.27304600649737</c:v>
                </c:pt>
                <c:pt idx="179">
                  <c:v>225.91722818850121</c:v>
                </c:pt>
                <c:pt idx="180">
                  <c:v>243.57274678103411</c:v>
                </c:pt>
                <c:pt idx="181">
                  <c:v>262.66662810337726</c:v>
                </c:pt>
                <c:pt idx="182">
                  <c:v>282.480806473195</c:v>
                </c:pt>
                <c:pt idx="183">
                  <c:v>303.68954399645588</c:v>
                </c:pt>
                <c:pt idx="184">
                  <c:v>325.56498417088363</c:v>
                </c:pt>
                <c:pt idx="185">
                  <c:v>347.83638179243172</c:v>
                </c:pt>
                <c:pt idx="186">
                  <c:v>370.61085962259756</c:v>
                </c:pt>
                <c:pt idx="187">
                  <c:v>392.70562822370675</c:v>
                </c:pt>
                <c:pt idx="188">
                  <c:v>414.57130155890928</c:v>
                </c:pt>
                <c:pt idx="189">
                  <c:v>435.24017449056151</c:v>
                </c:pt>
                <c:pt idx="190">
                  <c:v>455.21642966266347</c:v>
                </c:pt>
                <c:pt idx="191">
                  <c:v>474.02076049256925</c:v>
                </c:pt>
                <c:pt idx="192">
                  <c:v>491.87869025574258</c:v>
                </c:pt>
                <c:pt idx="193">
                  <c:v>508.42767490258842</c:v>
                </c:pt>
                <c:pt idx="194">
                  <c:v>523.49629408279395</c:v>
                </c:pt>
                <c:pt idx="195">
                  <c:v>540.51549826427538</c:v>
                </c:pt>
                <c:pt idx="196">
                  <c:v>571.5910858627758</c:v>
                </c:pt>
                <c:pt idx="197">
                  <c:v>602.78128618527444</c:v>
                </c:pt>
                <c:pt idx="198">
                  <c:v>633.65767568492367</c:v>
                </c:pt>
                <c:pt idx="199">
                  <c:v>665.43341592890374</c:v>
                </c:pt>
                <c:pt idx="200">
                  <c:v>698.61618345308102</c:v>
                </c:pt>
                <c:pt idx="201">
                  <c:v>732.54225933768271</c:v>
                </c:pt>
                <c:pt idx="202">
                  <c:v>767.03291820809523</c:v>
                </c:pt>
                <c:pt idx="203">
                  <c:v>800.71516712438824</c:v>
                </c:pt>
                <c:pt idx="204">
                  <c:v>835.27358124687066</c:v>
                </c:pt>
                <c:pt idx="205">
                  <c:v>870.48853065666231</c:v>
                </c:pt>
                <c:pt idx="206">
                  <c:v>906.80570036789447</c:v>
                </c:pt>
                <c:pt idx="207">
                  <c:v>942.70150185963507</c:v>
                </c:pt>
                <c:pt idx="208">
                  <c:v>978.90032392433909</c:v>
                </c:pt>
                <c:pt idx="209">
                  <c:v>1016.0577294254426</c:v>
                </c:pt>
                <c:pt idx="210">
                  <c:v>1053.2672304785012</c:v>
                </c:pt>
                <c:pt idx="211">
                  <c:v>1090.637222738329</c:v>
                </c:pt>
                <c:pt idx="212">
                  <c:v>1127.9581155742762</c:v>
                </c:pt>
                <c:pt idx="213">
                  <c:v>1165.6791847393633</c:v>
                </c:pt>
                <c:pt idx="214">
                  <c:v>1203.0930349235341</c:v>
                </c:pt>
                <c:pt idx="215">
                  <c:v>1240.0942579410014</c:v>
                </c:pt>
                <c:pt idx="216">
                  <c:v>1276.8724773822505</c:v>
                </c:pt>
                <c:pt idx="217">
                  <c:v>1313.4847162796664</c:v>
                </c:pt>
                <c:pt idx="218">
                  <c:v>1349.3326589612561</c:v>
                </c:pt>
                <c:pt idx="219">
                  <c:v>1384.3653204047293</c:v>
                </c:pt>
                <c:pt idx="220">
                  <c:v>1418.648935416436</c:v>
                </c:pt>
                <c:pt idx="221">
                  <c:v>1452.1168655310275</c:v>
                </c:pt>
                <c:pt idx="222">
                  <c:v>1484.5923372331545</c:v>
                </c:pt>
                <c:pt idx="223">
                  <c:v>1515.8983249539224</c:v>
                </c:pt>
                <c:pt idx="224">
                  <c:v>1546.0559322987924</c:v>
                </c:pt>
                <c:pt idx="225">
                  <c:v>1574.7652533883713</c:v>
                </c:pt>
                <c:pt idx="226">
                  <c:v>1601.9234507262049</c:v>
                </c:pt>
                <c:pt idx="227">
                  <c:v>1627.313656451023</c:v>
                </c:pt>
                <c:pt idx="228">
                  <c:v>1650.9782259636629</c:v>
                </c:pt>
                <c:pt idx="229">
                  <c:v>1672.8158770640275</c:v>
                </c:pt>
                <c:pt idx="230">
                  <c:v>1692.7200867042798</c:v>
                </c:pt>
                <c:pt idx="231">
                  <c:v>1710.5518765775907</c:v>
                </c:pt>
                <c:pt idx="232">
                  <c:v>1726.1949688739619</c:v>
                </c:pt>
                <c:pt idx="233">
                  <c:v>1739.6232706404064</c:v>
                </c:pt>
                <c:pt idx="234">
                  <c:v>1750.7889331175338</c:v>
                </c:pt>
                <c:pt idx="235">
                  <c:v>1759.6370090297041</c:v>
                </c:pt>
                <c:pt idx="236">
                  <c:v>1766.1139568243143</c:v>
                </c:pt>
                <c:pt idx="237">
                  <c:v>1770.2019250764154</c:v>
                </c:pt>
                <c:pt idx="238">
                  <c:v>1771.8910267806193</c:v>
                </c:pt>
                <c:pt idx="239">
                  <c:v>1771.1825775644397</c:v>
                </c:pt>
                <c:pt idx="240">
                  <c:v>1768.0840056424856</c:v>
                </c:pt>
                <c:pt idx="241">
                  <c:v>1762.6204862582392</c:v>
                </c:pt>
                <c:pt idx="242">
                  <c:v>1754.823532372196</c:v>
                </c:pt>
                <c:pt idx="243">
                  <c:v>1744.7323500935113</c:v>
                </c:pt>
                <c:pt idx="244">
                  <c:v>1732.4017006102067</c:v>
                </c:pt>
                <c:pt idx="245">
                  <c:v>1717.8987505964114</c:v>
                </c:pt>
                <c:pt idx="246">
                  <c:v>1701.2975179488428</c:v>
                </c:pt>
                <c:pt idx="247">
                  <c:v>1682.6791354108339</c:v>
                </c:pt>
                <c:pt idx="248">
                  <c:v>1662.1330535980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358-4843-A083-9E75CCD15D5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C$2:$C$250</c:f>
              <c:numCache>
                <c:formatCode>General</c:formatCode>
                <c:ptCount val="249"/>
                <c:pt idx="195">
                  <c:v>538.34653645065316</c:v>
                </c:pt>
                <c:pt idx="196">
                  <c:v>566.3775340375945</c:v>
                </c:pt>
                <c:pt idx="197">
                  <c:v>593.53728122139341</c:v>
                </c:pt>
                <c:pt idx="198">
                  <c:v>619.29628634537175</c:v>
                </c:pt>
                <c:pt idx="199">
                  <c:v>644.79770503473469</c:v>
                </c:pt>
                <c:pt idx="200">
                  <c:v>670.44258291493816</c:v>
                </c:pt>
                <c:pt idx="201">
                  <c:v>695.53842156704866</c:v>
                </c:pt>
                <c:pt idx="202">
                  <c:v>719.85190196455505</c:v>
                </c:pt>
                <c:pt idx="203">
                  <c:v>742.00043602806977</c:v>
                </c:pt>
                <c:pt idx="204">
                  <c:v>763.64898141441938</c:v>
                </c:pt>
                <c:pt idx="205">
                  <c:v>784.57780034781422</c:v>
                </c:pt>
                <c:pt idx="206">
                  <c:v>805.25814425479871</c:v>
                </c:pt>
                <c:pt idx="207">
                  <c:v>824.18597696438064</c:v>
                </c:pt>
                <c:pt idx="208">
                  <c:v>842.13561239532044</c:v>
                </c:pt>
                <c:pt idx="209">
                  <c:v>859.80376950117602</c:v>
                </c:pt>
                <c:pt idx="210">
                  <c:v>876.3469461229945</c:v>
                </c:pt>
                <c:pt idx="211">
                  <c:v>891.94882551208582</c:v>
                </c:pt>
                <c:pt idx="212">
                  <c:v>906.52036102609327</c:v>
                </c:pt>
                <c:pt idx="213">
                  <c:v>920.58325715208446</c:v>
                </c:pt>
                <c:pt idx="214">
                  <c:v>933.55536588028576</c:v>
                </c:pt>
                <c:pt idx="215">
                  <c:v>945.42822341929059</c:v>
                </c:pt>
                <c:pt idx="216">
                  <c:v>956.48680799755061</c:v>
                </c:pt>
                <c:pt idx="217">
                  <c:v>966.91252893245849</c:v>
                </c:pt>
                <c:pt idx="218">
                  <c:v>976.23302503778325</c:v>
                </c:pt>
                <c:pt idx="219">
                  <c:v>984.51664838935426</c:v>
                </c:pt>
                <c:pt idx="220">
                  <c:v>991.93928923474482</c:v>
                </c:pt>
                <c:pt idx="221">
                  <c:v>998.55810901371012</c:v>
                </c:pt>
                <c:pt idx="222">
                  <c:v>1004.3210934838614</c:v>
                </c:pt>
                <c:pt idx="223">
                  <c:v>1009.1809084903009</c:v>
                </c:pt>
                <c:pt idx="224">
                  <c:v>1013.2878832646475</c:v>
                </c:pt>
                <c:pt idx="225">
                  <c:v>1016.4748329969786</c:v>
                </c:pt>
                <c:pt idx="226">
                  <c:v>1018.758024779135</c:v>
                </c:pt>
                <c:pt idx="227">
                  <c:v>1020.0411942973701</c:v>
                </c:pt>
                <c:pt idx="228">
                  <c:v>1020.4768913088463</c:v>
                </c:pt>
                <c:pt idx="229">
                  <c:v>1020.0732762357501</c:v>
                </c:pt>
                <c:pt idx="230">
                  <c:v>1018.8275369639042</c:v>
                </c:pt>
                <c:pt idx="231">
                  <c:v>1016.7053489876225</c:v>
                </c:pt>
                <c:pt idx="232">
                  <c:v>1013.6836793699539</c:v>
                </c:pt>
                <c:pt idx="233">
                  <c:v>1009.8145291756862</c:v>
                </c:pt>
                <c:pt idx="234">
                  <c:v>1005.1240476885005</c:v>
                </c:pt>
                <c:pt idx="235">
                  <c:v>999.62215682422038</c:v>
                </c:pt>
                <c:pt idx="236">
                  <c:v>993.31067810810487</c:v>
                </c:pt>
                <c:pt idx="237">
                  <c:v>986.2174100277025</c:v>
                </c:pt>
                <c:pt idx="238">
                  <c:v>978.3679830502216</c:v>
                </c:pt>
                <c:pt idx="239">
                  <c:v>969.78903810151735</c:v>
                </c:pt>
                <c:pt idx="240">
                  <c:v>960.5030380806902</c:v>
                </c:pt>
                <c:pt idx="241">
                  <c:v>950.54002594936969</c:v>
                </c:pt>
                <c:pt idx="242">
                  <c:v>939.92643156297208</c:v>
                </c:pt>
                <c:pt idx="243">
                  <c:v>928.68679284497784</c:v>
                </c:pt>
                <c:pt idx="244">
                  <c:v>916.85197503342897</c:v>
                </c:pt>
                <c:pt idx="245">
                  <c:v>904.45639301939104</c:v>
                </c:pt>
                <c:pt idx="246">
                  <c:v>891.53295792184622</c:v>
                </c:pt>
                <c:pt idx="247">
                  <c:v>878.11396244792013</c:v>
                </c:pt>
                <c:pt idx="248">
                  <c:v>864.2330139271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358-4843-A083-9E75CCD15D5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D$2:$D$250</c:f>
              <c:numCache>
                <c:formatCode>General</c:formatCode>
                <c:ptCount val="249"/>
                <c:pt idx="195">
                  <c:v>539.42795017618573</c:v>
                </c:pt>
                <c:pt idx="196">
                  <c:v>568.97315736335486</c:v>
                </c:pt>
                <c:pt idx="197">
                  <c:v>598.1315041085453</c:v>
                </c:pt>
                <c:pt idx="198">
                  <c:v>626.41969743022628</c:v>
                </c:pt>
                <c:pt idx="199">
                  <c:v>655.01089073764501</c:v>
                </c:pt>
                <c:pt idx="200">
                  <c:v>684.35382358599531</c:v>
                </c:pt>
                <c:pt idx="201">
                  <c:v>713.76435200672961</c:v>
                </c:pt>
                <c:pt idx="202">
                  <c:v>743.03004175543219</c:v>
                </c:pt>
                <c:pt idx="203">
                  <c:v>770.766517488506</c:v>
                </c:pt>
                <c:pt idx="204">
                  <c:v>798.64187711591785</c:v>
                </c:pt>
                <c:pt idx="205">
                  <c:v>826.42985741506754</c:v>
                </c:pt>
                <c:pt idx="206">
                  <c:v>854.58263757347913</c:v>
                </c:pt>
                <c:pt idx="207">
                  <c:v>881.58054805199367</c:v>
                </c:pt>
                <c:pt idx="208">
                  <c:v>908.16769807312016</c:v>
                </c:pt>
                <c:pt idx="209">
                  <c:v>935.01565076027282</c:v>
                </c:pt>
                <c:pt idx="210">
                  <c:v>961.24569155628285</c:v>
                </c:pt>
                <c:pt idx="211">
                  <c:v>987.00108213151634</c:v>
                </c:pt>
                <c:pt idx="212">
                  <c:v>1012.1308299236841</c:v>
                </c:pt>
                <c:pt idx="213">
                  <c:v>1037.1199403648313</c:v>
                </c:pt>
                <c:pt idx="214">
                  <c:v>1061.3245002309604</c:v>
                </c:pt>
                <c:pt idx="215">
                  <c:v>1084.6898012894039</c:v>
                </c:pt>
                <c:pt idx="216">
                  <c:v>1107.4567573587524</c:v>
                </c:pt>
                <c:pt idx="217">
                  <c:v>1129.7496142613702</c:v>
                </c:pt>
                <c:pt idx="218">
                  <c:v>1151.0393588208663</c:v>
                </c:pt>
                <c:pt idx="219">
                  <c:v>1171.3422472676352</c:v>
                </c:pt>
                <c:pt idx="220">
                  <c:v>1190.7882001243631</c:v>
                </c:pt>
                <c:pt idx="221">
                  <c:v>1209.3825298062034</c:v>
                </c:pt>
                <c:pt idx="222">
                  <c:v>1227.0219736038248</c:v>
                </c:pt>
                <c:pt idx="223">
                  <c:v>1243.6064356066204</c:v>
                </c:pt>
                <c:pt idx="224">
                  <c:v>1259.2345301756518</c:v>
                </c:pt>
                <c:pt idx="225">
                  <c:v>1273.6862264634728</c:v>
                </c:pt>
                <c:pt idx="226">
                  <c:v>1286.9321870926633</c:v>
                </c:pt>
                <c:pt idx="227">
                  <c:v>1298.8300724689871</c:v>
                </c:pt>
                <c:pt idx="228">
                  <c:v>1309.4916527318251</c:v>
                </c:pt>
                <c:pt idx="229">
                  <c:v>1318.8845836412895</c:v>
                </c:pt>
                <c:pt idx="230">
                  <c:v>1326.9681222485583</c:v>
                </c:pt>
                <c:pt idx="231">
                  <c:v>1333.6690666647505</c:v>
                </c:pt>
                <c:pt idx="232">
                  <c:v>1338.930546977155</c:v>
                </c:pt>
                <c:pt idx="233">
                  <c:v>1342.7774565222339</c:v>
                </c:pt>
                <c:pt idx="234">
                  <c:v>1345.2098877066833</c:v>
                </c:pt>
                <c:pt idx="235">
                  <c:v>1346.2151346762907</c:v>
                </c:pt>
                <c:pt idx="236">
                  <c:v>1345.7758817215599</c:v>
                </c:pt>
                <c:pt idx="237">
                  <c:v>1343.904277604388</c:v>
                </c:pt>
                <c:pt idx="238">
                  <c:v>1340.613916579005</c:v>
                </c:pt>
                <c:pt idx="239">
                  <c:v>1335.9229836655982</c:v>
                </c:pt>
                <c:pt idx="240">
                  <c:v>1329.8490735910939</c:v>
                </c:pt>
                <c:pt idx="241">
                  <c:v>1322.4208701280554</c:v>
                </c:pt>
                <c:pt idx="242">
                  <c:v>1313.6668531908967</c:v>
                </c:pt>
                <c:pt idx="243">
                  <c:v>1303.6168668083906</c:v>
                </c:pt>
                <c:pt idx="244">
                  <c:v>1292.3102075588404</c:v>
                </c:pt>
                <c:pt idx="245">
                  <c:v>1279.7927303310021</c:v>
                </c:pt>
                <c:pt idx="246">
                  <c:v>1266.1116307990249</c:v>
                </c:pt>
                <c:pt idx="247">
                  <c:v>1251.3161224681357</c:v>
                </c:pt>
                <c:pt idx="248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358-4843-A083-9E75CCD15D58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F$2:$F$250</c:f>
              <c:numCache>
                <c:formatCode>General</c:formatCode>
                <c:ptCount val="24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358-4843-A083-9E75CCD15D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cat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Algn val="ctr"/>
        <c:lblOffset val="100"/>
        <c:tickLblSkip val="7"/>
        <c:noMultiLvlLbl val="1"/>
      </c:cat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ayout>
        <c:manualLayout>
          <c:xMode val="edge"/>
          <c:yMode val="edge"/>
          <c:x val="0.20000242690338468"/>
          <c:y val="4.6874997116449491E-2"/>
          <c:w val="0.14188217964413682"/>
          <c:h val="4.7962349411764922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4</c:v>
                </c:pt>
                <c:pt idx="1">
                  <c:v>234</c:v>
                </c:pt>
                <c:pt idx="2">
                  <c:v>247</c:v>
                </c:pt>
                <c:pt idx="3">
                  <c:v>302</c:v>
                </c:pt>
                <c:pt idx="4">
                  <c:v>302</c:v>
                </c:pt>
                <c:pt idx="5">
                  <c:v>327</c:v>
                </c:pt>
                <c:pt idx="6">
                  <c:v>316</c:v>
                </c:pt>
                <c:pt idx="7">
                  <c:v>344</c:v>
                </c:pt>
                <c:pt idx="8">
                  <c:v>333</c:v>
                </c:pt>
                <c:pt idx="9">
                  <c:v>350</c:v>
                </c:pt>
                <c:pt idx="10">
                  <c:v>425</c:v>
                </c:pt>
                <c:pt idx="11">
                  <c:v>444</c:v>
                </c:pt>
                <c:pt idx="12">
                  <c:v>470</c:v>
                </c:pt>
                <c:pt idx="13">
                  <c:v>496</c:v>
                </c:pt>
                <c:pt idx="14">
                  <c:v>527</c:v>
                </c:pt>
                <c:pt idx="15">
                  <c:v>515</c:v>
                </c:pt>
                <c:pt idx="16">
                  <c:v>541</c:v>
                </c:pt>
                <c:pt idx="17">
                  <c:v>662</c:v>
                </c:pt>
                <c:pt idx="18">
                  <c:v>725</c:v>
                </c:pt>
                <c:pt idx="19">
                  <c:v>795</c:v>
                </c:pt>
                <c:pt idx="20">
                  <c:v>839</c:v>
                </c:pt>
                <c:pt idx="21">
                  <c:v>921</c:v>
                </c:pt>
                <c:pt idx="22">
                  <c:v>929</c:v>
                </c:pt>
                <c:pt idx="23">
                  <c:v>992</c:v>
                </c:pt>
                <c:pt idx="24">
                  <c:v>1173</c:v>
                </c:pt>
                <c:pt idx="25">
                  <c:v>1294</c:v>
                </c:pt>
                <c:pt idx="26">
                  <c:v>1396</c:v>
                </c:pt>
                <c:pt idx="27">
                  <c:v>1391</c:v>
                </c:pt>
                <c:pt idx="28">
                  <c:v>1578</c:v>
                </c:pt>
                <c:pt idx="29">
                  <c:v>1597</c:v>
                </c:pt>
                <c:pt idx="30">
                  <c:v>1730</c:v>
                </c:pt>
                <c:pt idx="31">
                  <c:v>2103</c:v>
                </c:pt>
                <c:pt idx="32">
                  <c:v>2292</c:v>
                </c:pt>
                <c:pt idx="33">
                  <c:v>2495</c:v>
                </c:pt>
                <c:pt idx="34">
                  <c:v>2657</c:v>
                </c:pt>
                <c:pt idx="35">
                  <c:v>2801</c:v>
                </c:pt>
                <c:pt idx="36">
                  <c:v>2801</c:v>
                </c:pt>
                <c:pt idx="37">
                  <c:v>2952</c:v>
                </c:pt>
                <c:pt idx="38">
                  <c:v>3412</c:v>
                </c:pt>
                <c:pt idx="39">
                  <c:v>3609</c:v>
                </c:pt>
                <c:pt idx="40">
                  <c:v>3756</c:v>
                </c:pt>
                <c:pt idx="41">
                  <c:v>3885</c:v>
                </c:pt>
                <c:pt idx="42">
                  <c:v>4048</c:v>
                </c:pt>
                <c:pt idx="43">
                  <c:v>3988</c:v>
                </c:pt>
                <c:pt idx="44">
                  <c:v>4130</c:v>
                </c:pt>
                <c:pt idx="45">
                  <c:v>4779</c:v>
                </c:pt>
                <c:pt idx="46">
                  <c:v>4852</c:v>
                </c:pt>
                <c:pt idx="47">
                  <c:v>4813</c:v>
                </c:pt>
                <c:pt idx="48">
                  <c:v>5179</c:v>
                </c:pt>
                <c:pt idx="49">
                  <c:v>5303</c:v>
                </c:pt>
                <c:pt idx="50">
                  <c:v>5194</c:v>
                </c:pt>
                <c:pt idx="51">
                  <c:v>5397</c:v>
                </c:pt>
                <c:pt idx="52">
                  <c:v>5984</c:v>
                </c:pt>
                <c:pt idx="53">
                  <c:v>6103</c:v>
                </c:pt>
                <c:pt idx="54">
                  <c:v>6198</c:v>
                </c:pt>
                <c:pt idx="55">
                  <c:v>6291</c:v>
                </c:pt>
                <c:pt idx="56">
                  <c:v>6336</c:v>
                </c:pt>
                <c:pt idx="57">
                  <c:v>6124</c:v>
                </c:pt>
                <c:pt idx="58">
                  <c:v>6319</c:v>
                </c:pt>
                <c:pt idx="59">
                  <c:v>6984</c:v>
                </c:pt>
                <c:pt idx="60">
                  <c:v>6924</c:v>
                </c:pt>
                <c:pt idx="61">
                  <c:v>6883</c:v>
                </c:pt>
                <c:pt idx="62">
                  <c:v>6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67-4B1B-908B-33131C5906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67-4B1B-908B-33131C5906AF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74.8266915745999</c:v>
                </c:pt>
                <c:pt idx="43">
                  <c:v>4000.7649631137347</c:v>
                </c:pt>
                <c:pt idx="44">
                  <c:v>4126.3636197642345</c:v>
                </c:pt>
                <c:pt idx="45">
                  <c:v>4246.851958635968</c:v>
                </c:pt>
                <c:pt idx="46">
                  <c:v>4357.7449058198672</c:v>
                </c:pt>
                <c:pt idx="47">
                  <c:v>4461.1798325185819</c:v>
                </c:pt>
                <c:pt idx="48">
                  <c:v>4561.4503701634731</c:v>
                </c:pt>
                <c:pt idx="49">
                  <c:v>4660.4655418011043</c:v>
                </c:pt>
                <c:pt idx="50">
                  <c:v>4757.6593438429773</c:v>
                </c:pt>
                <c:pt idx="51">
                  <c:v>4858.1037055510296</c:v>
                </c:pt>
                <c:pt idx="52">
                  <c:v>4955.269813729863</c:v>
                </c:pt>
                <c:pt idx="53">
                  <c:v>5037.851718867676</c:v>
                </c:pt>
                <c:pt idx="54">
                  <c:v>5112.8062867582794</c:v>
                </c:pt>
                <c:pt idx="55">
                  <c:v>5184.835706396997</c:v>
                </c:pt>
                <c:pt idx="56">
                  <c:v>5255.5396750814853</c:v>
                </c:pt>
                <c:pt idx="57">
                  <c:v>5325.598673688386</c:v>
                </c:pt>
                <c:pt idx="58">
                  <c:v>5394.5302687169542</c:v>
                </c:pt>
                <c:pt idx="59">
                  <c:v>5461.5112579097113</c:v>
                </c:pt>
                <c:pt idx="60">
                  <c:v>5523.1067654692479</c:v>
                </c:pt>
                <c:pt idx="61">
                  <c:v>5579.9682808836287</c:v>
                </c:pt>
                <c:pt idx="62">
                  <c:v>5632.7848342359175</c:v>
                </c:pt>
                <c:pt idx="63">
                  <c:v>5681.9344968879623</c:v>
                </c:pt>
                <c:pt idx="64">
                  <c:v>5726.9117901050686</c:v>
                </c:pt>
                <c:pt idx="65">
                  <c:v>5768.6191703553786</c:v>
                </c:pt>
                <c:pt idx="66">
                  <c:v>5806.331035746306</c:v>
                </c:pt>
                <c:pt idx="67">
                  <c:v>5840.2229265257092</c:v>
                </c:pt>
                <c:pt idx="68">
                  <c:v>5868.9282885581742</c:v>
                </c:pt>
                <c:pt idx="69">
                  <c:v>5893.066540476214</c:v>
                </c:pt>
                <c:pt idx="70">
                  <c:v>5913.1832379434618</c:v>
                </c:pt>
                <c:pt idx="71">
                  <c:v>5927.2707698645772</c:v>
                </c:pt>
                <c:pt idx="72">
                  <c:v>5936.7406334869083</c:v>
                </c:pt>
                <c:pt idx="73">
                  <c:v>5941.7682210099592</c:v>
                </c:pt>
                <c:pt idx="74">
                  <c:v>5941.4840299436855</c:v>
                </c:pt>
                <c:pt idx="75">
                  <c:v>5936.195389534023</c:v>
                </c:pt>
                <c:pt idx="76">
                  <c:v>5926.0593653684864</c:v>
                </c:pt>
                <c:pt idx="77">
                  <c:v>5911.4925302807633</c:v>
                </c:pt>
                <c:pt idx="78">
                  <c:v>5891.1145246271162</c:v>
                </c:pt>
                <c:pt idx="79">
                  <c:v>5866.1678405466055</c:v>
                </c:pt>
                <c:pt idx="80">
                  <c:v>5836.6640093508631</c:v>
                </c:pt>
                <c:pt idx="81">
                  <c:v>5801.8842766630705</c:v>
                </c:pt>
                <c:pt idx="82">
                  <c:v>5762.00730520045</c:v>
                </c:pt>
                <c:pt idx="83">
                  <c:v>5718.2310743467187</c:v>
                </c:pt>
                <c:pt idx="84">
                  <c:v>5670.1237920150888</c:v>
                </c:pt>
                <c:pt idx="85">
                  <c:v>5616.8306867096653</c:v>
                </c:pt>
                <c:pt idx="86">
                  <c:v>5560.4493417457879</c:v>
                </c:pt>
                <c:pt idx="87">
                  <c:v>5500.5212514270288</c:v>
                </c:pt>
                <c:pt idx="88">
                  <c:v>5434.9249047022331</c:v>
                </c:pt>
                <c:pt idx="89">
                  <c:v>5366.4713539503819</c:v>
                </c:pt>
                <c:pt idx="90">
                  <c:v>5295.1997817793708</c:v>
                </c:pt>
                <c:pt idx="91">
                  <c:v>5220.5883678919145</c:v>
                </c:pt>
                <c:pt idx="92">
                  <c:v>5141.6385683384133</c:v>
                </c:pt>
                <c:pt idx="93">
                  <c:v>5059.7844572957165</c:v>
                </c:pt>
                <c:pt idx="94">
                  <c:v>4975.64411772108</c:v>
                </c:pt>
                <c:pt idx="95">
                  <c:v>4888.91526968881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67-4B1B-908B-33131C5906AF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883.7724957326495</c:v>
                </c:pt>
                <c:pt idx="43">
                  <c:v>4021.8651703173623</c:v>
                </c:pt>
                <c:pt idx="44">
                  <c:v>4163.0571947267426</c:v>
                </c:pt>
                <c:pt idx="45">
                  <c:v>4302.6712117083398</c:v>
                </c:pt>
                <c:pt idx="46">
                  <c:v>4436.3983667800385</c:v>
                </c:pt>
                <c:pt idx="47">
                  <c:v>4566.3664649222883</c:v>
                </c:pt>
                <c:pt idx="48">
                  <c:v>4696.922545893809</c:v>
                </c:pt>
                <c:pt idx="49">
                  <c:v>4829.8886898653509</c:v>
                </c:pt>
                <c:pt idx="50">
                  <c:v>4964.6851723175723</c:v>
                </c:pt>
                <c:pt idx="51">
                  <c:v>5106.269164907766</c:v>
                </c:pt>
                <c:pt idx="52">
                  <c:v>5248.0490617810729</c:v>
                </c:pt>
                <c:pt idx="53">
                  <c:v>5378.580127219092</c:v>
                </c:pt>
                <c:pt idx="54">
                  <c:v>5504.7041800399766</c:v>
                </c:pt>
                <c:pt idx="55">
                  <c:v>5630.9313152074355</c:v>
                </c:pt>
                <c:pt idx="56">
                  <c:v>5758.5854770970145</c:v>
                </c:pt>
                <c:pt idx="57">
                  <c:v>5887.8355049395122</c:v>
                </c:pt>
                <c:pt idx="58">
                  <c:v>6018.0363754738419</c:v>
                </c:pt>
                <c:pt idx="59">
                  <c:v>6148.1174291578554</c:v>
                </c:pt>
                <c:pt idx="60">
                  <c:v>6274.4753812746858</c:v>
                </c:pt>
                <c:pt idx="61">
                  <c:v>6397.4250467610236</c:v>
                </c:pt>
                <c:pt idx="62">
                  <c:v>6517.4063018172383</c:v>
                </c:pt>
                <c:pt idx="63">
                  <c:v>6634.4979616464334</c:v>
                </c:pt>
                <c:pt idx="64">
                  <c:v>6747.8381258254458</c:v>
                </c:pt>
                <c:pt idx="65">
                  <c:v>6858.0152150647637</c:v>
                </c:pt>
                <c:pt idx="66">
                  <c:v>6964.0475227458246</c:v>
                </c:pt>
                <c:pt idx="67">
                  <c:v>7065.8127870876542</c:v>
                </c:pt>
                <c:pt idx="68">
                  <c:v>7161.6785672445512</c:v>
                </c:pt>
                <c:pt idx="69">
                  <c:v>7251.9875202190015</c:v>
                </c:pt>
                <c:pt idx="70">
                  <c:v>7336.9974130292958</c:v>
                </c:pt>
                <c:pt idx="71">
                  <c:v>7414.4261695508631</c:v>
                </c:pt>
                <c:pt idx="72">
                  <c:v>7485.4020724328948</c:v>
                </c:pt>
                <c:pt idx="73">
                  <c:v>7549.8552017784723</c:v>
                </c:pt>
                <c:pt idx="74">
                  <c:v>7606.6812658407453</c:v>
                </c:pt>
                <c:pt idx="75">
                  <c:v>7655.9601133157576</c:v>
                </c:pt>
                <c:pt idx="76">
                  <c:v>7697.6356567036792</c:v>
                </c:pt>
                <c:pt idx="77">
                  <c:v>7731.9422521323922</c:v>
                </c:pt>
                <c:pt idx="78">
                  <c:v>7757.3172289474423</c:v>
                </c:pt>
                <c:pt idx="79">
                  <c:v>7774.8523594207982</c:v>
                </c:pt>
                <c:pt idx="80">
                  <c:v>7784.4222024789424</c:v>
                </c:pt>
                <c:pt idx="81">
                  <c:v>7785.1904771195786</c:v>
                </c:pt>
                <c:pt idx="82">
                  <c:v>7777.2303691396628</c:v>
                </c:pt>
                <c:pt idx="83">
                  <c:v>7761.6674912508715</c:v>
                </c:pt>
                <c:pt idx="84">
                  <c:v>7738.0130518590777</c:v>
                </c:pt>
                <c:pt idx="85">
                  <c:v>7705.3756244397246</c:v>
                </c:pt>
                <c:pt idx="86">
                  <c:v>7665.8362387460747</c:v>
                </c:pt>
                <c:pt idx="87">
                  <c:v>7618.9391382218619</c:v>
                </c:pt>
                <c:pt idx="88">
                  <c:v>7562.5763308956848</c:v>
                </c:pt>
                <c:pt idx="89">
                  <c:v>7499.6033427889088</c:v>
                </c:pt>
                <c:pt idx="90">
                  <c:v>7430.1080738058808</c:v>
                </c:pt>
                <c:pt idx="91">
                  <c:v>7353.6387736028464</c:v>
                </c:pt>
                <c:pt idx="92">
                  <c:v>7269.1761846328609</c:v>
                </c:pt>
                <c:pt idx="93">
                  <c:v>7178.3251169050318</c:v>
                </c:pt>
                <c:pt idx="94">
                  <c:v>7081.8141108436257</c:v>
                </c:pt>
                <c:pt idx="95">
                  <c:v>6979.463472041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167-4B1B-908B-33131C5906AF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892.7752822914986</c:v>
                </c:pt>
                <c:pt idx="43">
                  <c:v>4043.1687347470602</c:v>
                </c:pt>
                <c:pt idx="44">
                  <c:v>4200.2470000448029</c:v>
                </c:pt>
                <c:pt idx="45">
                  <c:v>4359.4916428298739</c:v>
                </c:pt>
                <c:pt idx="46">
                  <c:v>4516.8426085193496</c:v>
                </c:pt>
                <c:pt idx="47">
                  <c:v>4674.4950136332509</c:v>
                </c:pt>
                <c:pt idx="48">
                  <c:v>4836.9296358195497</c:v>
                </c:pt>
                <c:pt idx="49">
                  <c:v>5005.9629248299843</c:v>
                </c:pt>
                <c:pt idx="50">
                  <c:v>5181.0823628909493</c:v>
                </c:pt>
                <c:pt idx="51">
                  <c:v>5367.2087561997487</c:v>
                </c:pt>
                <c:pt idx="52">
                  <c:v>5557.7622339853697</c:v>
                </c:pt>
                <c:pt idx="53">
                  <c:v>5741.2274125797849</c:v>
                </c:pt>
                <c:pt idx="54">
                  <c:v>5924.3916908957708</c:v>
                </c:pt>
                <c:pt idx="55">
                  <c:v>6111.6242528419061</c:v>
                </c:pt>
                <c:pt idx="56">
                  <c:v>6304.0139361848651</c:v>
                </c:pt>
                <c:pt idx="57">
                  <c:v>6501.2446122618312</c:v>
                </c:pt>
                <c:pt idx="58">
                  <c:v>6702.522830665479</c:v>
                </c:pt>
                <c:pt idx="59">
                  <c:v>6906.5301863113764</c:v>
                </c:pt>
                <c:pt idx="60">
                  <c:v>7109.4791726113908</c:v>
                </c:pt>
                <c:pt idx="61">
                  <c:v>7311.3153925703828</c:v>
                </c:pt>
                <c:pt idx="62">
                  <c:v>7512.1806540221532</c:v>
                </c:pt>
                <c:pt idx="63">
                  <c:v>7711.7892970140019</c:v>
                </c:pt>
                <c:pt idx="64">
                  <c:v>7908.8414601342902</c:v>
                </c:pt>
                <c:pt idx="65">
                  <c:v>8103.5161819879368</c:v>
                </c:pt>
                <c:pt idx="66">
                  <c:v>8294.4674585003886</c:v>
                </c:pt>
                <c:pt idx="67">
                  <c:v>8481.1526524327164</c:v>
                </c:pt>
                <c:pt idx="68">
                  <c:v>8661.5385703678348</c:v>
                </c:pt>
                <c:pt idx="69">
                  <c:v>8835.5454934832705</c:v>
                </c:pt>
                <c:pt idx="70">
                  <c:v>9002.9890621874674</c:v>
                </c:pt>
                <c:pt idx="71">
                  <c:v>9161.1516483523137</c:v>
                </c:pt>
                <c:pt idx="72">
                  <c:v>9310.7132913458518</c:v>
                </c:pt>
                <c:pt idx="73">
                  <c:v>9451.1919071894808</c:v>
                </c:pt>
                <c:pt idx="74">
                  <c:v>9581.0814534073252</c:v>
                </c:pt>
                <c:pt idx="75">
                  <c:v>9700.0694388859683</c:v>
                </c:pt>
                <c:pt idx="76">
                  <c:v>9807.726184872894</c:v>
                </c:pt>
                <c:pt idx="77">
                  <c:v>9903.9501133799276</c:v>
                </c:pt>
                <c:pt idx="78">
                  <c:v>9986.8513187595854</c:v>
                </c:pt>
                <c:pt idx="79">
                  <c:v>10057.236771960852</c:v>
                </c:pt>
                <c:pt idx="80">
                  <c:v>10114.72246934113</c:v>
                </c:pt>
                <c:pt idx="81">
                  <c:v>10158.247083233073</c:v>
                </c:pt>
                <c:pt idx="82">
                  <c:v>10187.686256884106</c:v>
                </c:pt>
                <c:pt idx="83">
                  <c:v>10204.017835551913</c:v>
                </c:pt>
                <c:pt idx="84">
                  <c:v>10206.638131698186</c:v>
                </c:pt>
                <c:pt idx="85">
                  <c:v>10194.579248587941</c:v>
                </c:pt>
                <c:pt idx="86">
                  <c:v>10169.884223290057</c:v>
                </c:pt>
                <c:pt idx="87">
                  <c:v>10132.096963673484</c:v>
                </c:pt>
                <c:pt idx="88">
                  <c:v>10079.137980044041</c:v>
                </c:pt>
                <c:pt idx="89">
                  <c:v>10013.939924979448</c:v>
                </c:pt>
                <c:pt idx="90">
                  <c:v>9936.6889466502089</c:v>
                </c:pt>
                <c:pt idx="91">
                  <c:v>9847.0688784891026</c:v>
                </c:pt>
                <c:pt idx="92">
                  <c:v>9744.1194406107588</c:v>
                </c:pt>
                <c:pt idx="93">
                  <c:v>9629.7096549604648</c:v>
                </c:pt>
                <c:pt idx="94">
                  <c:v>9504.7837788229681</c:v>
                </c:pt>
                <c:pt idx="95">
                  <c:v>9369.40036948733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67-4B1B-908B-33131C5906AF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67-4B1B-908B-33131C5906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5</c:v>
                </c:pt>
                <c:pt idx="1">
                  <c:v>44</c:v>
                </c:pt>
                <c:pt idx="2">
                  <c:v>52</c:v>
                </c:pt>
                <c:pt idx="3">
                  <c:v>58</c:v>
                </c:pt>
                <c:pt idx="4">
                  <c:v>72</c:v>
                </c:pt>
                <c:pt idx="5">
                  <c:v>86</c:v>
                </c:pt>
                <c:pt idx="6">
                  <c:v>75</c:v>
                </c:pt>
                <c:pt idx="7">
                  <c:v>78</c:v>
                </c:pt>
                <c:pt idx="8">
                  <c:v>77</c:v>
                </c:pt>
                <c:pt idx="9">
                  <c:v>77</c:v>
                </c:pt>
                <c:pt idx="10">
                  <c:v>99</c:v>
                </c:pt>
                <c:pt idx="11">
                  <c:v>113</c:v>
                </c:pt>
                <c:pt idx="12">
                  <c:v>114</c:v>
                </c:pt>
                <c:pt idx="13">
                  <c:v>116</c:v>
                </c:pt>
                <c:pt idx="14">
                  <c:v>115</c:v>
                </c:pt>
                <c:pt idx="15">
                  <c:v>112</c:v>
                </c:pt>
                <c:pt idx="16">
                  <c:v>116</c:v>
                </c:pt>
                <c:pt idx="17">
                  <c:v>133</c:v>
                </c:pt>
                <c:pt idx="18">
                  <c:v>146</c:v>
                </c:pt>
                <c:pt idx="19">
                  <c:v>138</c:v>
                </c:pt>
                <c:pt idx="20">
                  <c:v>142</c:v>
                </c:pt>
                <c:pt idx="21">
                  <c:v>153</c:v>
                </c:pt>
                <c:pt idx="22">
                  <c:v>151</c:v>
                </c:pt>
                <c:pt idx="23">
                  <c:v>163</c:v>
                </c:pt>
                <c:pt idx="24">
                  <c:v>171</c:v>
                </c:pt>
                <c:pt idx="25">
                  <c:v>193</c:v>
                </c:pt>
                <c:pt idx="26">
                  <c:v>215</c:v>
                </c:pt>
                <c:pt idx="27">
                  <c:v>209</c:v>
                </c:pt>
                <c:pt idx="28">
                  <c:v>233</c:v>
                </c:pt>
                <c:pt idx="29">
                  <c:v>238</c:v>
                </c:pt>
                <c:pt idx="30">
                  <c:v>267</c:v>
                </c:pt>
                <c:pt idx="31">
                  <c:v>311</c:v>
                </c:pt>
                <c:pt idx="32">
                  <c:v>318</c:v>
                </c:pt>
                <c:pt idx="33">
                  <c:v>345</c:v>
                </c:pt>
                <c:pt idx="34">
                  <c:v>345</c:v>
                </c:pt>
                <c:pt idx="35">
                  <c:v>384</c:v>
                </c:pt>
                <c:pt idx="36">
                  <c:v>389</c:v>
                </c:pt>
                <c:pt idx="37">
                  <c:v>424</c:v>
                </c:pt>
                <c:pt idx="38">
                  <c:v>471</c:v>
                </c:pt>
                <c:pt idx="39">
                  <c:v>487</c:v>
                </c:pt>
                <c:pt idx="40">
                  <c:v>511</c:v>
                </c:pt>
                <c:pt idx="41">
                  <c:v>519</c:v>
                </c:pt>
                <c:pt idx="42">
                  <c:v>527</c:v>
                </c:pt>
                <c:pt idx="43">
                  <c:v>561</c:v>
                </c:pt>
                <c:pt idx="44">
                  <c:v>601</c:v>
                </c:pt>
                <c:pt idx="45">
                  <c:v>644</c:v>
                </c:pt>
                <c:pt idx="46">
                  <c:v>651</c:v>
                </c:pt>
                <c:pt idx="47">
                  <c:v>691</c:v>
                </c:pt>
                <c:pt idx="48">
                  <c:v>716</c:v>
                </c:pt>
                <c:pt idx="49">
                  <c:v>744</c:v>
                </c:pt>
                <c:pt idx="50">
                  <c:v>752</c:v>
                </c:pt>
                <c:pt idx="51">
                  <c:v>779</c:v>
                </c:pt>
                <c:pt idx="52">
                  <c:v>815</c:v>
                </c:pt>
                <c:pt idx="53">
                  <c:v>858</c:v>
                </c:pt>
                <c:pt idx="54">
                  <c:v>864</c:v>
                </c:pt>
                <c:pt idx="55">
                  <c:v>890</c:v>
                </c:pt>
                <c:pt idx="56">
                  <c:v>910</c:v>
                </c:pt>
                <c:pt idx="57">
                  <c:v>928</c:v>
                </c:pt>
                <c:pt idx="58">
                  <c:v>938</c:v>
                </c:pt>
                <c:pt idx="59">
                  <c:v>979</c:v>
                </c:pt>
                <c:pt idx="60">
                  <c:v>981</c:v>
                </c:pt>
                <c:pt idx="61">
                  <c:v>977</c:v>
                </c:pt>
                <c:pt idx="62">
                  <c:v>9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F4F-40BD-B43F-7A417B3E7C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F4F-40BD-B43F-7A417B3E7C13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38.34653645065316</c:v>
                </c:pt>
                <c:pt idx="43">
                  <c:v>566.3775340375945</c:v>
                </c:pt>
                <c:pt idx="44">
                  <c:v>593.53728122139341</c:v>
                </c:pt>
                <c:pt idx="45">
                  <c:v>619.29628634537175</c:v>
                </c:pt>
                <c:pt idx="46">
                  <c:v>644.79770503473469</c:v>
                </c:pt>
                <c:pt idx="47">
                  <c:v>670.44258291493816</c:v>
                </c:pt>
                <c:pt idx="48">
                  <c:v>695.53842156704866</c:v>
                </c:pt>
                <c:pt idx="49">
                  <c:v>719.85190196455505</c:v>
                </c:pt>
                <c:pt idx="50">
                  <c:v>742.00043602806977</c:v>
                </c:pt>
                <c:pt idx="51">
                  <c:v>763.64898141441938</c:v>
                </c:pt>
                <c:pt idx="52">
                  <c:v>784.57780034781422</c:v>
                </c:pt>
                <c:pt idx="53">
                  <c:v>805.25814425479871</c:v>
                </c:pt>
                <c:pt idx="54">
                  <c:v>824.18597696438064</c:v>
                </c:pt>
                <c:pt idx="55">
                  <c:v>842.13561239532044</c:v>
                </c:pt>
                <c:pt idx="56">
                  <c:v>859.80376950117602</c:v>
                </c:pt>
                <c:pt idx="57">
                  <c:v>876.3469461229945</c:v>
                </c:pt>
                <c:pt idx="58">
                  <c:v>891.94882551208582</c:v>
                </c:pt>
                <c:pt idx="59">
                  <c:v>906.52036102609327</c:v>
                </c:pt>
                <c:pt idx="60">
                  <c:v>920.58325715208446</c:v>
                </c:pt>
                <c:pt idx="61">
                  <c:v>933.55536588028576</c:v>
                </c:pt>
                <c:pt idx="62">
                  <c:v>945.42822341929059</c:v>
                </c:pt>
                <c:pt idx="63">
                  <c:v>956.48680799755061</c:v>
                </c:pt>
                <c:pt idx="64">
                  <c:v>966.9125289324586</c:v>
                </c:pt>
                <c:pt idx="65">
                  <c:v>976.23302503778336</c:v>
                </c:pt>
                <c:pt idx="66">
                  <c:v>984.51664838935426</c:v>
                </c:pt>
                <c:pt idx="67">
                  <c:v>991.93928923474482</c:v>
                </c:pt>
                <c:pt idx="68">
                  <c:v>998.55810901371024</c:v>
                </c:pt>
                <c:pt idx="69">
                  <c:v>1004.3210934838614</c:v>
                </c:pt>
                <c:pt idx="70">
                  <c:v>1009.1809084903009</c:v>
                </c:pt>
                <c:pt idx="71">
                  <c:v>1013.2878832646476</c:v>
                </c:pt>
                <c:pt idx="72">
                  <c:v>1016.4748329969788</c:v>
                </c:pt>
                <c:pt idx="73">
                  <c:v>1018.758024779135</c:v>
                </c:pt>
                <c:pt idx="74">
                  <c:v>1020.0411942973701</c:v>
                </c:pt>
                <c:pt idx="75">
                  <c:v>1020.4768913088465</c:v>
                </c:pt>
                <c:pt idx="76">
                  <c:v>1020.0732762357502</c:v>
                </c:pt>
                <c:pt idx="77">
                  <c:v>1018.8275369639043</c:v>
                </c:pt>
                <c:pt idx="78">
                  <c:v>1016.7053489876226</c:v>
                </c:pt>
                <c:pt idx="79">
                  <c:v>1013.683679369954</c:v>
                </c:pt>
                <c:pt idx="80">
                  <c:v>1009.8145291756862</c:v>
                </c:pt>
                <c:pt idx="81">
                  <c:v>1005.1240476885006</c:v>
                </c:pt>
                <c:pt idx="82">
                  <c:v>999.6221568242205</c:v>
                </c:pt>
                <c:pt idx="83">
                  <c:v>993.31067810810487</c:v>
                </c:pt>
                <c:pt idx="84">
                  <c:v>986.2174100277025</c:v>
                </c:pt>
                <c:pt idx="85">
                  <c:v>978.36798305022171</c:v>
                </c:pt>
                <c:pt idx="86">
                  <c:v>969.78903810151746</c:v>
                </c:pt>
                <c:pt idx="87">
                  <c:v>960.5030380806902</c:v>
                </c:pt>
                <c:pt idx="88">
                  <c:v>950.54002594936981</c:v>
                </c:pt>
                <c:pt idx="89">
                  <c:v>939.92643156297208</c:v>
                </c:pt>
                <c:pt idx="90">
                  <c:v>928.68679284497784</c:v>
                </c:pt>
                <c:pt idx="91">
                  <c:v>916.85197503342897</c:v>
                </c:pt>
                <c:pt idx="92">
                  <c:v>904.45639301939104</c:v>
                </c:pt>
                <c:pt idx="93">
                  <c:v>891.53295792184622</c:v>
                </c:pt>
                <c:pt idx="94">
                  <c:v>878.11396244792013</c:v>
                </c:pt>
                <c:pt idx="95">
                  <c:v>864.2330139271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F4F-40BD-B43F-7A417B3E7C13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39.42795017618585</c:v>
                </c:pt>
                <c:pt idx="43">
                  <c:v>568.97315736335486</c:v>
                </c:pt>
                <c:pt idx="44">
                  <c:v>598.1315041085453</c:v>
                </c:pt>
                <c:pt idx="45">
                  <c:v>626.41969743022628</c:v>
                </c:pt>
                <c:pt idx="46">
                  <c:v>655.01089073764501</c:v>
                </c:pt>
                <c:pt idx="47">
                  <c:v>684.35382358599531</c:v>
                </c:pt>
                <c:pt idx="48">
                  <c:v>713.76435200672961</c:v>
                </c:pt>
                <c:pt idx="49">
                  <c:v>743.03004175543219</c:v>
                </c:pt>
                <c:pt idx="50">
                  <c:v>770.766517488506</c:v>
                </c:pt>
                <c:pt idx="51">
                  <c:v>798.64187711591785</c:v>
                </c:pt>
                <c:pt idx="52">
                  <c:v>826.42985741506754</c:v>
                </c:pt>
                <c:pt idx="53">
                  <c:v>854.58263757347913</c:v>
                </c:pt>
                <c:pt idx="54">
                  <c:v>881.58054805199367</c:v>
                </c:pt>
                <c:pt idx="55">
                  <c:v>908.16769807312016</c:v>
                </c:pt>
                <c:pt idx="56">
                  <c:v>935.01565076027282</c:v>
                </c:pt>
                <c:pt idx="57">
                  <c:v>961.24569155628285</c:v>
                </c:pt>
                <c:pt idx="58">
                  <c:v>987.00108213151634</c:v>
                </c:pt>
                <c:pt idx="59">
                  <c:v>1012.1308299236841</c:v>
                </c:pt>
                <c:pt idx="60">
                  <c:v>1037.1199403648313</c:v>
                </c:pt>
                <c:pt idx="61">
                  <c:v>1061.3245002309607</c:v>
                </c:pt>
                <c:pt idx="62">
                  <c:v>1084.6898012894042</c:v>
                </c:pt>
                <c:pt idx="63">
                  <c:v>1107.4567573587524</c:v>
                </c:pt>
                <c:pt idx="64">
                  <c:v>1129.7496142613702</c:v>
                </c:pt>
                <c:pt idx="65">
                  <c:v>1151.0393588208663</c:v>
                </c:pt>
                <c:pt idx="66">
                  <c:v>1171.3422472676352</c:v>
                </c:pt>
                <c:pt idx="67">
                  <c:v>1190.7882001243631</c:v>
                </c:pt>
                <c:pt idx="68">
                  <c:v>1209.3825298062034</c:v>
                </c:pt>
                <c:pt idx="69">
                  <c:v>1227.0219736038248</c:v>
                </c:pt>
                <c:pt idx="70">
                  <c:v>1243.6064356066204</c:v>
                </c:pt>
                <c:pt idx="71">
                  <c:v>1259.2345301756518</c:v>
                </c:pt>
                <c:pt idx="72">
                  <c:v>1273.6862264634728</c:v>
                </c:pt>
                <c:pt idx="73">
                  <c:v>1286.9321870926633</c:v>
                </c:pt>
                <c:pt idx="74">
                  <c:v>1298.8300724689871</c:v>
                </c:pt>
                <c:pt idx="75">
                  <c:v>1309.4916527318251</c:v>
                </c:pt>
                <c:pt idx="76">
                  <c:v>1318.8845836412895</c:v>
                </c:pt>
                <c:pt idx="77">
                  <c:v>1326.9681222485583</c:v>
                </c:pt>
                <c:pt idx="78">
                  <c:v>1333.6690666647505</c:v>
                </c:pt>
                <c:pt idx="79">
                  <c:v>1338.930546977155</c:v>
                </c:pt>
                <c:pt idx="80">
                  <c:v>1342.7774565222339</c:v>
                </c:pt>
                <c:pt idx="81">
                  <c:v>1345.2098877066833</c:v>
                </c:pt>
                <c:pt idx="82">
                  <c:v>1346.2151346762907</c:v>
                </c:pt>
                <c:pt idx="83">
                  <c:v>1345.7758817215599</c:v>
                </c:pt>
                <c:pt idx="84">
                  <c:v>1343.904277604388</c:v>
                </c:pt>
                <c:pt idx="85">
                  <c:v>1340.613916579005</c:v>
                </c:pt>
                <c:pt idx="86">
                  <c:v>1335.9229836655982</c:v>
                </c:pt>
                <c:pt idx="87">
                  <c:v>1329.8490735910939</c:v>
                </c:pt>
                <c:pt idx="88">
                  <c:v>1322.4208701280554</c:v>
                </c:pt>
                <c:pt idx="89">
                  <c:v>1313.6668531908967</c:v>
                </c:pt>
                <c:pt idx="90">
                  <c:v>1303.6168668083906</c:v>
                </c:pt>
                <c:pt idx="91">
                  <c:v>1292.3102075588404</c:v>
                </c:pt>
                <c:pt idx="92">
                  <c:v>1279.7927303310021</c:v>
                </c:pt>
                <c:pt idx="93">
                  <c:v>1266.1116307990249</c:v>
                </c:pt>
                <c:pt idx="94">
                  <c:v>1251.3161224681357</c:v>
                </c:pt>
                <c:pt idx="95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F4F-40BD-B43F-7A417B3E7C13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40.51549826427538</c:v>
                </c:pt>
                <c:pt idx="43">
                  <c:v>571.5910858627758</c:v>
                </c:pt>
                <c:pt idx="44">
                  <c:v>602.78128618527444</c:v>
                </c:pt>
                <c:pt idx="45">
                  <c:v>633.65767568492367</c:v>
                </c:pt>
                <c:pt idx="46">
                  <c:v>665.43341592890374</c:v>
                </c:pt>
                <c:pt idx="47">
                  <c:v>698.61618345308102</c:v>
                </c:pt>
                <c:pt idx="48">
                  <c:v>732.54225933768271</c:v>
                </c:pt>
                <c:pt idx="49">
                  <c:v>767.03291820809523</c:v>
                </c:pt>
                <c:pt idx="50">
                  <c:v>800.71516712438824</c:v>
                </c:pt>
                <c:pt idx="51">
                  <c:v>835.27358124687066</c:v>
                </c:pt>
                <c:pt idx="52">
                  <c:v>870.48853065666231</c:v>
                </c:pt>
                <c:pt idx="53">
                  <c:v>906.80570036789447</c:v>
                </c:pt>
                <c:pt idx="54">
                  <c:v>942.70150185963507</c:v>
                </c:pt>
                <c:pt idx="55">
                  <c:v>978.9003239243392</c:v>
                </c:pt>
                <c:pt idx="56">
                  <c:v>1016.0577294254427</c:v>
                </c:pt>
                <c:pt idx="57">
                  <c:v>1053.2672304785012</c:v>
                </c:pt>
                <c:pt idx="58">
                  <c:v>1090.637222738329</c:v>
                </c:pt>
                <c:pt idx="59">
                  <c:v>1127.9581155742762</c:v>
                </c:pt>
                <c:pt idx="60">
                  <c:v>1165.6791847393633</c:v>
                </c:pt>
                <c:pt idx="61">
                  <c:v>1203.0930349235341</c:v>
                </c:pt>
                <c:pt idx="62">
                  <c:v>1240.0942579410014</c:v>
                </c:pt>
                <c:pt idx="63">
                  <c:v>1276.8724773822505</c:v>
                </c:pt>
                <c:pt idx="64">
                  <c:v>1313.4847162796664</c:v>
                </c:pt>
                <c:pt idx="65">
                  <c:v>1349.3326589612561</c:v>
                </c:pt>
                <c:pt idx="66">
                  <c:v>1384.3653204047293</c:v>
                </c:pt>
                <c:pt idx="67">
                  <c:v>1418.648935416436</c:v>
                </c:pt>
                <c:pt idx="68">
                  <c:v>1452.1168655310275</c:v>
                </c:pt>
                <c:pt idx="69">
                  <c:v>1484.5923372331545</c:v>
                </c:pt>
                <c:pt idx="70">
                  <c:v>1515.8983249539224</c:v>
                </c:pt>
                <c:pt idx="71">
                  <c:v>1546.0559322987924</c:v>
                </c:pt>
                <c:pt idx="72">
                  <c:v>1574.7652533883713</c:v>
                </c:pt>
                <c:pt idx="73">
                  <c:v>1601.9234507262049</c:v>
                </c:pt>
                <c:pt idx="74">
                  <c:v>1627.313656451023</c:v>
                </c:pt>
                <c:pt idx="75">
                  <c:v>1650.9782259636629</c:v>
                </c:pt>
                <c:pt idx="76">
                  <c:v>1672.8158770640275</c:v>
                </c:pt>
                <c:pt idx="77">
                  <c:v>1692.7200867042798</c:v>
                </c:pt>
                <c:pt idx="78">
                  <c:v>1710.5518765775907</c:v>
                </c:pt>
                <c:pt idx="79">
                  <c:v>1726.1949688739619</c:v>
                </c:pt>
                <c:pt idx="80">
                  <c:v>1739.6232706404064</c:v>
                </c:pt>
                <c:pt idx="81">
                  <c:v>1750.7889331175338</c:v>
                </c:pt>
                <c:pt idx="82">
                  <c:v>1759.6370090297041</c:v>
                </c:pt>
                <c:pt idx="83">
                  <c:v>1766.1139568243143</c:v>
                </c:pt>
                <c:pt idx="84">
                  <c:v>1770.2019250764154</c:v>
                </c:pt>
                <c:pt idx="85">
                  <c:v>1771.8910267806193</c:v>
                </c:pt>
                <c:pt idx="86">
                  <c:v>1771.1825775644397</c:v>
                </c:pt>
                <c:pt idx="87">
                  <c:v>1768.0840056424856</c:v>
                </c:pt>
                <c:pt idx="88">
                  <c:v>1762.6204862582392</c:v>
                </c:pt>
                <c:pt idx="89">
                  <c:v>1754.823532372196</c:v>
                </c:pt>
                <c:pt idx="90">
                  <c:v>1744.7323500935113</c:v>
                </c:pt>
                <c:pt idx="91">
                  <c:v>1732.4017006102067</c:v>
                </c:pt>
                <c:pt idx="92">
                  <c:v>1717.8987505964114</c:v>
                </c:pt>
                <c:pt idx="93">
                  <c:v>1701.2975179488428</c:v>
                </c:pt>
                <c:pt idx="94">
                  <c:v>1682.6791354108339</c:v>
                </c:pt>
                <c:pt idx="95">
                  <c:v>1662.1330535980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F4F-40BD-B43F-7A417B3E7C13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F4F-40BD-B43F-7A417B3E7C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4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5381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8856218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526700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0800348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22124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4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571241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3667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74924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5356027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50389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4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688903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7903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5925143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563337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48042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557196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98686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4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37794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68609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81935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4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8512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874" r:id="rId5"/>
    <p:sldLayoutId id="2147483938" r:id="rId6"/>
    <p:sldLayoutId id="2147484024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485738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6" r:id="rId1"/>
    <p:sldLayoutId id="2147484027" r:id="rId2"/>
    <p:sldLayoutId id="2147484028" r:id="rId3"/>
    <p:sldLayoutId id="2147484029" r:id="rId4"/>
    <p:sldLayoutId id="2147484030" r:id="rId5"/>
    <p:sldLayoutId id="2147484031" r:id="rId6"/>
    <p:sldLayoutId id="2147484032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4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53184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7" r:id="rId1"/>
    <p:sldLayoutId id="2147484048" r:id="rId2"/>
    <p:sldLayoutId id="2147484049" r:id="rId3"/>
    <p:sldLayoutId id="2147484050" r:id="rId4"/>
    <p:sldLayoutId id="2147484051" r:id="rId5"/>
    <p:sldLayoutId id="2147484052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12" Type="http://schemas.openxmlformats.org/officeDocument/2006/relationships/chart" Target="../charts/chart6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tags" Target="../tags/tag75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74.xml"/><Relationship Id="rId10" Type="http://schemas.openxmlformats.org/officeDocument/2006/relationships/tags" Target="../tags/tag79.xml"/><Relationship Id="rId4" Type="http://schemas.openxmlformats.org/officeDocument/2006/relationships/tags" Target="../tags/tag73.xml"/><Relationship Id="rId9" Type="http://schemas.openxmlformats.org/officeDocument/2006/relationships/tags" Target="../tags/tag7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26" Type="http://schemas.openxmlformats.org/officeDocument/2006/relationships/image" Target="../media/image5.png"/><Relationship Id="rId3" Type="http://schemas.openxmlformats.org/officeDocument/2006/relationships/tags" Target="../tags/tag8.xml"/><Relationship Id="rId21" Type="http://schemas.openxmlformats.org/officeDocument/2006/relationships/tags" Target="../tags/tag26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image" Target="../media/image4.png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tags" Target="../tags/tag25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24" Type="http://schemas.openxmlformats.org/officeDocument/2006/relationships/image" Target="../media/image3.png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23" Type="http://schemas.openxmlformats.org/officeDocument/2006/relationships/slideLayout" Target="../slideLayouts/slideLayout12.xml"/><Relationship Id="rId10" Type="http://schemas.openxmlformats.org/officeDocument/2006/relationships/tags" Target="../tags/tag15.xml"/><Relationship Id="rId19" Type="http://schemas.openxmlformats.org/officeDocument/2006/relationships/tags" Target="../tags/tag24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tags" Target="../tags/tag2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chart" Target="../charts/chart2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slideLayout" Target="../slideLayouts/slideLayout2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5" Type="http://schemas.openxmlformats.org/officeDocument/2006/relationships/tags" Target="../tags/tag32.xml"/><Relationship Id="rId10" Type="http://schemas.openxmlformats.org/officeDocument/2006/relationships/tags" Target="../tags/tag37.xml"/><Relationship Id="rId4" Type="http://schemas.openxmlformats.org/officeDocument/2006/relationships/tags" Target="../tags/tag31.xml"/><Relationship Id="rId9" Type="http://schemas.openxmlformats.org/officeDocument/2006/relationships/tags" Target="../tags/tag3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slideLayout" Target="../slideLayouts/slideLayout20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5" Type="http://schemas.openxmlformats.org/officeDocument/2006/relationships/tags" Target="../tags/tag43.xml"/><Relationship Id="rId10" Type="http://schemas.openxmlformats.org/officeDocument/2006/relationships/tags" Target="../tags/tag48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chart" Target="../charts/chart4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11" Type="http://schemas.openxmlformats.org/officeDocument/2006/relationships/slideLayout" Target="../slideLayouts/slideLayout20.xml"/><Relationship Id="rId5" Type="http://schemas.openxmlformats.org/officeDocument/2006/relationships/tags" Target="../tags/tag55.xml"/><Relationship Id="rId10" Type="http://schemas.openxmlformats.org/officeDocument/2006/relationships/tags" Target="../tags/tag60.xml"/><Relationship Id="rId4" Type="http://schemas.openxmlformats.org/officeDocument/2006/relationships/tags" Target="../tags/tag54.xml"/><Relationship Id="rId9" Type="http://schemas.openxmlformats.org/officeDocument/2006/relationships/tags" Target="../tags/tag5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chart" Target="../charts/chart5.xml"/><Relationship Id="rId5" Type="http://schemas.openxmlformats.org/officeDocument/2006/relationships/tags" Target="../tags/tag65.xml"/><Relationship Id="rId10" Type="http://schemas.openxmlformats.org/officeDocument/2006/relationships/slideLayout" Target="../slideLayouts/slideLayout5.xml"/><Relationship Id="rId4" Type="http://schemas.openxmlformats.org/officeDocument/2006/relationships/tags" Target="../tags/tag64.xml"/><Relationship Id="rId9" Type="http://schemas.openxmlformats.org/officeDocument/2006/relationships/tags" Target="../tags/tag6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0" y="3693109"/>
            <a:ext cx="12192000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Souhrn – situace v ČR  </a:t>
            </a:r>
          </a:p>
          <a:p>
            <a:r>
              <a:rPr lang="cs-CZ" sz="4800" b="1" dirty="0"/>
              <a:t>Hlavní ukazatele vývoje virové zátěže populace 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36242311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8" name="TextBox 9">
            <a:extLst>
              <a:ext uri="{FF2B5EF4-FFF2-40B4-BE49-F238E27FC236}">
                <a16:creationId xmlns:a16="http://schemas.microsoft.com/office/drawing/2014/main" id="{3894B16B-2753-4AFE-9F8D-E78A709894B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50B0F0EF-F100-4894-B162-A2108E64BACC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4CB45048-7782-43BD-92D3-E36EA7C183EC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AD532655-36DB-41A9-BBD6-4BA46B7F810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5FB20AAC-D39F-4F15-B5E5-0FFBB07F4B8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8A0282F5-E2C3-48CC-B0E6-67E2D9C8230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D712442A-10A9-41F3-8911-4BCA9D1B71A1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7F63D18B-C855-44EB-97FD-0A351BF3CDE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Box 14">
            <a:extLst>
              <a:ext uri="{FF2B5EF4-FFF2-40B4-BE49-F238E27FC236}">
                <a16:creationId xmlns:a16="http://schemas.microsoft.com/office/drawing/2014/main" id="{DFDFA073-5EC4-4437-86EC-DC6B0197A6E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99E85366-DDD6-4A04-9DD7-40BE2B4B2B88}"/>
              </a:ext>
            </a:extLst>
          </p:cNvPr>
          <p:cNvSpPr txBox="1"/>
          <p:nvPr/>
        </p:nvSpPr>
        <p:spPr>
          <a:xfrm>
            <a:off x="1145436" y="2331510"/>
            <a:ext cx="5458306" cy="830997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struktura prevalence nově nakažených s vysokou pravděpodobností navýší zátěž nemocnic. </a:t>
            </a:r>
            <a:r>
              <a:rPr lang="cs-CZ" sz="1600" b="1" i="1" dirty="0">
                <a:solidFill>
                  <a:srgbClr val="FFFFFF"/>
                </a:solidFill>
                <a:latin typeface="Calibri" panose="020F0502020204030204"/>
              </a:rPr>
              <a:t>Na počátku </a:t>
            </a:r>
            <a:r>
              <a:rPr kumimoji="0" 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since je možné očekávat &gt; 1 000 hospitalizací na JIP v jeden den.</a:t>
            </a:r>
            <a:endParaRPr kumimoji="0" lang="en-US" sz="1600" b="1" i="1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C6F93941-39B7-4CA0-B572-A4E70E3B9E1C}"/>
              </a:ext>
            </a:extLst>
          </p:cNvPr>
          <p:cNvCxnSpPr>
            <a:cxnSpLocks/>
          </p:cNvCxnSpPr>
          <p:nvPr/>
        </p:nvCxnSpPr>
        <p:spPr>
          <a:xfrm flipH="1">
            <a:off x="1058750" y="3848059"/>
            <a:ext cx="8001643" cy="0"/>
          </a:xfrm>
          <a:prstGeom prst="straightConnector1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24" name="Přímá spojnice 23">
            <a:extLst>
              <a:ext uri="{FF2B5EF4-FFF2-40B4-BE49-F238E27FC236}">
                <a16:creationId xmlns:a16="http://schemas.microsoft.com/office/drawing/2014/main" id="{F367B87B-0C6C-4E6C-9F88-88D28577260C}"/>
              </a:ext>
            </a:extLst>
          </p:cNvPr>
          <p:cNvCxnSpPr>
            <a:cxnSpLocks/>
          </p:cNvCxnSpPr>
          <p:nvPr/>
        </p:nvCxnSpPr>
        <p:spPr>
          <a:xfrm>
            <a:off x="6797870" y="3076575"/>
            <a:ext cx="0" cy="2711467"/>
          </a:xfrm>
          <a:prstGeom prst="line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</a:ln>
          <a:effectLst/>
        </p:spPr>
      </p:cxn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B38B8B84-6F40-46FB-A3D6-E9F16B1F8A95}"/>
              </a:ext>
            </a:extLst>
          </p:cNvPr>
          <p:cNvCxnSpPr>
            <a:cxnSpLocks/>
          </p:cNvCxnSpPr>
          <p:nvPr/>
        </p:nvCxnSpPr>
        <p:spPr>
          <a:xfrm flipH="1">
            <a:off x="1058750" y="3327524"/>
            <a:ext cx="8001643" cy="0"/>
          </a:xfrm>
          <a:prstGeom prst="straightConnector1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  <a:tailEnd type="triangle"/>
          </a:ln>
          <a:effectLst/>
        </p:spPr>
      </p:cxn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17E47398-FDA5-45D6-9B03-BD2EDED858D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72193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  <p:extLst>
      <p:ext uri="{BB962C8B-B14F-4D97-AF65-F5344CB8AC3E}">
        <p14:creationId xmlns:p14="http://schemas.microsoft.com/office/powerpoint/2010/main" val="19449684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4174608" y="2819728"/>
            <a:ext cx="7901128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nově prokázaných případů nákazy se v pracovních dnech nyní pohybuje nad </a:t>
            </a:r>
            <a:r>
              <a:rPr kumimoji="0" lang="cs-CZ" sz="2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7 000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pulační relativní pozitivita u klinicky indikovaných testů je vyšší než 35 %, v nejvíce zatížených krajích &gt; 40%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ále narůstá počet nakažených potenciálně zranitelných osob (denně &gt; 1 700) 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zvyšuje se i zdravotní dopad epidemie v zátěži nemocnic 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týdně o cca 20 - 30%)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růstá mortalita související s COVID-19, denně je průměrně hlášeno již &gt; </a:t>
            </a:r>
            <a:r>
              <a:rPr lang="cs-CZ" sz="2400" b="1" dirty="0">
                <a:solidFill>
                  <a:prstClr val="black"/>
                </a:solidFill>
                <a:latin typeface="Calibri" panose="020F0502020204030204"/>
              </a:rPr>
              <a:t>80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úmrtí.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4964674" y="1976071"/>
            <a:ext cx="1695252" cy="5087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0" y="153370"/>
            <a:ext cx="12075736" cy="14944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ůst virové zátěže v posledních dnech zpomaluje až stagnuje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sz="3400" b="1" dirty="0">
                <a:solidFill>
                  <a:prstClr val="black"/>
                </a:solidFill>
                <a:latin typeface="Calibri" panose="020F0502020204030204"/>
              </a:rPr>
              <a:t>- </a:t>
            </a: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ýdenní počet nově zachycených případů se pohybuje blízko hodnoty </a:t>
            </a: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200/100tis. obyvatel</a:t>
            </a: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10E3CC22-D179-4233-825B-B1D2923D220B}"/>
              </a:ext>
            </a:extLst>
          </p:cNvPr>
          <p:cNvSpPr txBox="1"/>
          <p:nvPr/>
        </p:nvSpPr>
        <p:spPr>
          <a:xfrm>
            <a:off x="195296" y="2819728"/>
            <a:ext cx="3519454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dnoty klíčových indikátorů šíření epidemie, včetně rizik zdravotního dopadu, jsou stále rizikově vysoké</a:t>
            </a:r>
            <a:endParaRPr kumimoji="0" lang="en-US" sz="3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65469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v </a:t>
            </a:r>
            <a:r>
              <a:rPr lang="cs-CZ" dirty="0"/>
              <a:t>ORP</a:t>
            </a:r>
            <a:endParaRPr lang="cs-CZ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750587" y="2038465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9750587" y="2347191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9750587" y="2655917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9750587" y="2964643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9750587" y="3273369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990343" y="1943799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0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990343" y="2255089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0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90343" y="2566379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990343" y="2877669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90343" y="3188959"/>
            <a:ext cx="12105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10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9750587" y="3582094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9750587" y="3890818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9990343" y="3500249"/>
            <a:ext cx="13244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0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00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9990343" y="3811541"/>
            <a:ext cx="8178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00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8D61F06-E564-4806-8691-3AC255200BE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50587" y="1763799"/>
            <a:ext cx="180000" cy="180000"/>
          </a:xfrm>
          <a:prstGeom prst="rect">
            <a:avLst/>
          </a:prstGeom>
          <a:solidFill>
            <a:srgbClr val="4CB9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186B9F7-F8F7-4F40-BFDF-925ACE69CA58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9990343" y="1699911"/>
            <a:ext cx="9380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D1B206D-13F2-46AF-A707-682B8D88A63C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50587" y="1473457"/>
            <a:ext cx="180000" cy="180000"/>
          </a:xfrm>
          <a:prstGeom prst="rect">
            <a:avLst/>
          </a:prstGeom>
          <a:solidFill>
            <a:srgbClr val="AEDF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E19C18A-0242-40A3-8DFB-2F38AED8C204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9990343" y="1409569"/>
            <a:ext cx="8242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 - 50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72C0F43-AA2D-4190-92A2-DA88FB03C4B4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50587" y="1187611"/>
            <a:ext cx="180000" cy="180000"/>
          </a:xfrm>
          <a:prstGeom prst="rect">
            <a:avLst/>
          </a:prstGeom>
          <a:solidFill>
            <a:srgbClr val="E5F4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7F72A3E-D55C-4A77-863C-B5BD05190F52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9990343" y="1123723"/>
            <a:ext cx="5902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5</a:t>
            </a:r>
          </a:p>
        </p:txBody>
      </p:sp>
      <p:sp>
        <p:nvSpPr>
          <p:cNvPr id="41" name="TextBox 29">
            <a:extLst>
              <a:ext uri="{FF2B5EF4-FFF2-40B4-BE49-F238E27FC236}">
                <a16:creationId xmlns:a16="http://schemas.microsoft.com/office/drawing/2014/main" id="{D7315AF9-2D38-4C73-AC60-44D33DB718D8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317600" y="982652"/>
            <a:ext cx="159396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 11. 2021</a:t>
            </a:r>
          </a:p>
        </p:txBody>
      </p:sp>
      <p:sp>
        <p:nvSpPr>
          <p:cNvPr id="44" name="TextBox 29">
            <a:extLst>
              <a:ext uri="{FF2B5EF4-FFF2-40B4-BE49-F238E27FC236}">
                <a16:creationId xmlns:a16="http://schemas.microsoft.com/office/drawing/2014/main" id="{0D28E585-5142-41B3-A6C5-F1019D5E11D7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4279291" y="903244"/>
            <a:ext cx="16081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. 11. 2021</a:t>
            </a:r>
          </a:p>
        </p:txBody>
      </p:sp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33C76758-60D2-4A36-AC7C-53E27C4B3188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09" r="18394"/>
          <a:stretch/>
        </p:blipFill>
        <p:spPr>
          <a:xfrm>
            <a:off x="3716323" y="1293000"/>
            <a:ext cx="3463570" cy="2160000"/>
          </a:xfrm>
          <a:prstGeom prst="rect">
            <a:avLst/>
          </a:prstGeom>
        </p:spPr>
      </p:pic>
      <p:pic>
        <p:nvPicPr>
          <p:cNvPr id="21" name="Picture 20" descr="Map&#10;&#10;Description automatically generated">
            <a:extLst>
              <a:ext uri="{FF2B5EF4-FFF2-40B4-BE49-F238E27FC236}">
                <a16:creationId xmlns:a16="http://schemas.microsoft.com/office/drawing/2014/main" id="{FAE4AEF5-461D-4CF9-B35C-FD914DB522FC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91" r="18739"/>
          <a:stretch/>
        </p:blipFill>
        <p:spPr>
          <a:xfrm>
            <a:off x="184264" y="1393179"/>
            <a:ext cx="3418245" cy="2160000"/>
          </a:xfrm>
          <a:prstGeom prst="rect">
            <a:avLst/>
          </a:prstGeom>
        </p:spPr>
      </p:pic>
      <p:sp>
        <p:nvSpPr>
          <p:cNvPr id="32" name="Podnadpis 2">
            <a:extLst>
              <a:ext uri="{FF2B5EF4-FFF2-40B4-BE49-F238E27FC236}">
                <a16:creationId xmlns:a16="http://schemas.microsoft.com/office/drawing/2014/main" id="{4CA5C962-F0A4-4222-B021-B13612E47883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6851971" y="5384543"/>
            <a:ext cx="5406901" cy="165710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 map je patrný růst virové zátěže v okresech Moravskoslezského, Jihomoravského, Olomouckého, Jihočeského kraje a v Praze. Naopak virová zátěž je stále dlouhodobě nižší na severu a západě republiky (kraje Královéhradecký, Liberecký a Karlovarský).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4" name="Obrázek 33">
            <a:extLst>
              <a:ext uri="{FF2B5EF4-FFF2-40B4-BE49-F238E27FC236}">
                <a16:creationId xmlns:a16="http://schemas.microsoft.com/office/drawing/2014/main" id="{9706BE81-CBC5-4446-ADEB-F804D449F9EE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26"/>
          <a:stretch>
            <a:fillRect/>
          </a:stretch>
        </p:blipFill>
        <p:spPr>
          <a:xfrm>
            <a:off x="317600" y="4270179"/>
            <a:ext cx="3508075" cy="2171045"/>
          </a:xfrm>
          <a:prstGeom prst="rect">
            <a:avLst/>
          </a:prstGeom>
        </p:spPr>
      </p:pic>
      <p:sp>
        <p:nvSpPr>
          <p:cNvPr id="35" name="TextBox 29">
            <a:extLst>
              <a:ext uri="{FF2B5EF4-FFF2-40B4-BE49-F238E27FC236}">
                <a16:creationId xmlns:a16="http://schemas.microsoft.com/office/drawing/2014/main" id="{30EC7AFD-4DD6-4464-8EBD-4C1EA0B7D2DD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317600" y="3735677"/>
            <a:ext cx="159396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 11. 2021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2E17E7A1-BB49-4665-A1E9-ADC239168B64}"/>
              </a:ext>
            </a:extLst>
          </p:cNvPr>
          <p:cNvSpPr txBox="1"/>
          <p:nvPr/>
        </p:nvSpPr>
        <p:spPr>
          <a:xfrm>
            <a:off x="3998030" y="3823101"/>
            <a:ext cx="4195939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átěž postupuje z východních regionů republiky do Čech </a:t>
            </a: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62982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Obrázek 16">
            <a:extLst>
              <a:ext uri="{FF2B5EF4-FFF2-40B4-BE49-F238E27FC236}">
                <a16:creationId xmlns:a16="http://schemas.microsoft.com/office/drawing/2014/main" id="{90013E73-72EB-442C-AA17-D9AD1D41E2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4511" y="2189914"/>
            <a:ext cx="7250497" cy="3240000"/>
          </a:xfrm>
          <a:prstGeom prst="rect">
            <a:avLst/>
          </a:prstGeom>
        </p:spPr>
      </p:pic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14628" y="375219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6054090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200608" y="198705"/>
            <a:ext cx="11796603" cy="707886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 a predikce do prosince 2021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populační zátěže dle scénáře I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: rizikový vývoj s významnými zdravotními dopady, významný další růst</a:t>
            </a:r>
          </a:p>
        </p:txBody>
      </p:sp>
      <p:graphicFrame>
        <p:nvGraphicFramePr>
          <p:cNvPr id="21" name="Tabulka 10">
            <a:extLst>
              <a:ext uri="{FF2B5EF4-FFF2-40B4-BE49-F238E27FC236}">
                <a16:creationId xmlns:a16="http://schemas.microsoft.com/office/drawing/2014/main" id="{E5273A5B-6F76-4409-B5F3-FB52F2CC9C0A}"/>
              </a:ext>
            </a:extLst>
          </p:cNvPr>
          <p:cNvGraphicFramePr>
            <a:graphicFrameLocks noGrp="1"/>
          </p:cNvGraphicFramePr>
          <p:nvPr/>
        </p:nvGraphicFramePr>
        <p:xfrm>
          <a:off x="206492" y="5457290"/>
          <a:ext cx="7775494" cy="5553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9664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732870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732870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732870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732870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732870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732870">
                  <a:extLst>
                    <a:ext uri="{9D8B030D-6E8A-4147-A177-3AD203B41FA5}">
                      <a16:colId xmlns:a16="http://schemas.microsoft.com/office/drawing/2014/main" val="805271721"/>
                    </a:ext>
                  </a:extLst>
                </a:gridCol>
                <a:gridCol w="732870">
                  <a:extLst>
                    <a:ext uri="{9D8B030D-6E8A-4147-A177-3AD203B41FA5}">
                      <a16:colId xmlns:a16="http://schemas.microsoft.com/office/drawing/2014/main" val="148378157"/>
                    </a:ext>
                  </a:extLst>
                </a:gridCol>
                <a:gridCol w="732870">
                  <a:extLst>
                    <a:ext uri="{9D8B030D-6E8A-4147-A177-3AD203B41FA5}">
                      <a16:colId xmlns:a16="http://schemas.microsoft.com/office/drawing/2014/main" val="3981597030"/>
                    </a:ext>
                  </a:extLst>
                </a:gridCol>
                <a:gridCol w="732870">
                  <a:extLst>
                    <a:ext uri="{9D8B030D-6E8A-4147-A177-3AD203B41FA5}">
                      <a16:colId xmlns:a16="http://schemas.microsoft.com/office/drawing/2014/main" val="2471926991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4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gt; 300 000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????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</a:tbl>
          </a:graphicData>
        </a:graphic>
      </p:graphicFrame>
      <p:sp>
        <p:nvSpPr>
          <p:cNvPr id="27" name="TextovéPole 26">
            <a:extLst>
              <a:ext uri="{FF2B5EF4-FFF2-40B4-BE49-F238E27FC236}">
                <a16:creationId xmlns:a16="http://schemas.microsoft.com/office/drawing/2014/main" id="{E90C4BCE-BE26-4DB1-86D7-BAD57ADC65F6}"/>
              </a:ext>
            </a:extLst>
          </p:cNvPr>
          <p:cNvSpPr txBox="1"/>
          <p:nvPr/>
        </p:nvSpPr>
        <p:spPr>
          <a:xfrm>
            <a:off x="8151584" y="996233"/>
            <a:ext cx="3962423" cy="569386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zikový scénář pracující s rizikovými parametry, které nevyhnutelně povedou k nárůstu zátěže nemocnic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Vysoce riziková změna situace daná šířením Delta varianty viru významně unikající vakcinaci (až &gt; 35% - 40%) a zároveň vykazující zvýšenou přenosnost (nárůst bazální reprodukce minimálně o &gt; 20%, sezonní efekt, vysoký počet rizikových kontaktů v populaci), šíření mezi zranitelnými skupinami obyvatel. Nedostatečná proočkovanost (&lt; 70% v populaci 16+), částečná ztráta (vyprchání) ochrany dokončeným očkováním i u zranitelných a seniorních populačních skupin. Ochrana zranitelných skupin je částečně neúčinná, je započítáno riziko spojené s cca 370 000 neočkovanými a nechráněnými seniory ve věku 60+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 počítá o</a:t>
            </a:r>
            <a: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 1.9. s normálními kontakty a dílčím zvýšením základní reprodukce v důsledku sezónnosti, s větší eskalací v průběhu října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0. uvažovaný dopad podzimních prázdnin a dílčího zpřísnění opatření, snížení kontaktů a základní reprodukce o 20 %. </a:t>
            </a:r>
            <a:r>
              <a:rPr kumimoji="0" lang="cs-CZ" sz="1400" b="0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listopadu se počítá opět s významnějším zvýšením počtu kontaktů.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CE9E8AAE-9201-4440-A86B-6973BA9610E2}"/>
              </a:ext>
            </a:extLst>
          </p:cNvPr>
          <p:cNvSpPr txBox="1"/>
          <p:nvPr/>
        </p:nvSpPr>
        <p:spPr>
          <a:xfrm>
            <a:off x="1757888" y="2782669"/>
            <a:ext cx="4428745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ažení vrcholu v šíření a následně doba trvání „plató“, případně rychlost následného poklesu jsou modelovány na základě populačních parametrů a jsou zatíženy značnou nejistotou.  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Šipka: doprava 28">
            <a:extLst>
              <a:ext uri="{FF2B5EF4-FFF2-40B4-BE49-F238E27FC236}">
                <a16:creationId xmlns:a16="http://schemas.microsoft.com/office/drawing/2014/main" id="{FCA2915E-4CAC-4729-9762-71F041E204AD}"/>
              </a:ext>
            </a:extLst>
          </p:cNvPr>
          <p:cNvSpPr/>
          <p:nvPr/>
        </p:nvSpPr>
        <p:spPr>
          <a:xfrm>
            <a:off x="6340989" y="2819499"/>
            <a:ext cx="338555" cy="470442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73FE221A-6A9E-4356-859B-1C05F1840054}"/>
              </a:ext>
            </a:extLst>
          </p:cNvPr>
          <p:cNvSpPr txBox="1"/>
          <p:nvPr/>
        </p:nvSpPr>
        <p:spPr>
          <a:xfrm>
            <a:off x="7176089" y="2920050"/>
            <a:ext cx="5303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?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36" name="TextovéPole 25">
            <a:extLst>
              <a:ext uri="{FF2B5EF4-FFF2-40B4-BE49-F238E27FC236}">
                <a16:creationId xmlns:a16="http://schemas.microsoft.com/office/drawing/2014/main" id="{69A6EA45-6C41-483C-AE3C-3855D282D872}"/>
              </a:ext>
            </a:extLst>
          </p:cNvPr>
          <p:cNvSpPr txBox="1"/>
          <p:nvPr/>
        </p:nvSpPr>
        <p:spPr>
          <a:xfrm>
            <a:off x="338328" y="1428086"/>
            <a:ext cx="4869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cxnSp>
        <p:nvCxnSpPr>
          <p:cNvPr id="37" name="Přímá spojnice 36">
            <a:extLst>
              <a:ext uri="{FF2B5EF4-FFF2-40B4-BE49-F238E27FC236}">
                <a16:creationId xmlns:a16="http://schemas.microsoft.com/office/drawing/2014/main" id="{19EDFE44-49B1-4056-A57E-9FDC2D7AF8FC}"/>
              </a:ext>
            </a:extLst>
          </p:cNvPr>
          <p:cNvCxnSpPr/>
          <p:nvPr/>
        </p:nvCxnSpPr>
        <p:spPr>
          <a:xfrm>
            <a:off x="5641449" y="1294480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ovéPole 24">
            <a:extLst>
              <a:ext uri="{FF2B5EF4-FFF2-40B4-BE49-F238E27FC236}">
                <a16:creationId xmlns:a16="http://schemas.microsoft.com/office/drawing/2014/main" id="{A940C059-DAB5-4319-8CD1-7773FB6244F1}"/>
              </a:ext>
            </a:extLst>
          </p:cNvPr>
          <p:cNvSpPr txBox="1"/>
          <p:nvPr/>
        </p:nvSpPr>
        <p:spPr>
          <a:xfrm>
            <a:off x="6172672" y="1132016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(simulace)</a:t>
            </a: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128DF63C-E1A6-43F0-B924-9AB2D9934864}"/>
              </a:ext>
            </a:extLst>
          </p:cNvPr>
          <p:cNvSpPr txBox="1"/>
          <p:nvPr/>
        </p:nvSpPr>
        <p:spPr>
          <a:xfrm>
            <a:off x="338328" y="957028"/>
            <a:ext cx="37020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ud pozorovaná reálná data, 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C1DC3424-D02F-4F69-95B0-11E58518AA30}"/>
              </a:ext>
            </a:extLst>
          </p:cNvPr>
          <p:cNvSpPr txBox="1"/>
          <p:nvPr/>
        </p:nvSpPr>
        <p:spPr>
          <a:xfrm>
            <a:off x="338328" y="1747002"/>
            <a:ext cx="76070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 scénář vedoucí k významnému růstu virové nálože v populaci a následně také k značnému navýšení zátěže nemocnic.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nář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acuje s významnějším opětovným navýšením kontaktů od listopadu a představuje jednu z nejrizikovějších (nicméně stále pravděpodobných) variant vývoje (nutné pro přípravu testovacích a trasovacích kapacit). 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55315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Chart 4">
            <a:extLst>
              <a:ext uri="{FF2B5EF4-FFF2-40B4-BE49-F238E27FC236}">
                <a16:creationId xmlns:a16="http://schemas.microsoft.com/office/drawing/2014/main" id="{1C607227-CBFF-4193-B50F-EDC6549C29C0}"/>
              </a:ext>
            </a:extLst>
          </p:cNvPr>
          <p:cNvGraphicFramePr/>
          <p:nvPr/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59" y="-18593"/>
            <a:ext cx="11354940" cy="576000"/>
          </a:xfrm>
        </p:spPr>
        <p:txBody>
          <a:bodyPr/>
          <a:lstStyle/>
          <a:p>
            <a:r>
              <a:rPr lang="cs-CZ" sz="2400" dirty="0"/>
              <a:t>7denní hodnoty na 100 tisíc obyvatel: krátkodobá projekce vývoje 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905326" y="82578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1437629" y="438834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1717372" y="4346588"/>
            <a:ext cx="34227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30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610581" y="980823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905326" y="1051008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610581" y="1204130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610581" y="1652435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897469" y="1503139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372766" y="3208280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89FB82C-0781-4D81-8598-ADCA44A2C668}"/>
              </a:ext>
            </a:extLst>
          </p:cNvPr>
          <p:cNvSpPr txBox="1"/>
          <p:nvPr/>
        </p:nvSpPr>
        <p:spPr>
          <a:xfrm>
            <a:off x="1906261" y="1268905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</p:txBody>
      </p:sp>
      <p:cxnSp>
        <p:nvCxnSpPr>
          <p:cNvPr id="22" name="Přímá spojnice 21">
            <a:extLst>
              <a:ext uri="{FF2B5EF4-FFF2-40B4-BE49-F238E27FC236}">
                <a16:creationId xmlns:a16="http://schemas.microsoft.com/office/drawing/2014/main" id="{6ABB5C34-E37E-4393-9335-919B32DCDD69}"/>
              </a:ext>
            </a:extLst>
          </p:cNvPr>
          <p:cNvCxnSpPr>
            <a:cxnSpLocks/>
          </p:cNvCxnSpPr>
          <p:nvPr/>
        </p:nvCxnSpPr>
        <p:spPr>
          <a:xfrm>
            <a:off x="1611516" y="1420114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1D997ECA-8A36-4B34-B5A8-38AA2E8AA115}"/>
              </a:ext>
            </a:extLst>
          </p:cNvPr>
          <p:cNvSpPr txBox="1"/>
          <p:nvPr/>
        </p:nvSpPr>
        <p:spPr>
          <a:xfrm>
            <a:off x="11581780" y="5283969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95545FA7-595F-4A29-94DD-6DCFA00D86C0}"/>
              </a:ext>
            </a:extLst>
          </p:cNvPr>
          <p:cNvSpPr txBox="1"/>
          <p:nvPr/>
        </p:nvSpPr>
        <p:spPr>
          <a:xfrm>
            <a:off x="11597277" y="5549899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BE993916-2EEC-4D23-A11A-577A1D408336}"/>
              </a:ext>
            </a:extLst>
          </p:cNvPr>
          <p:cNvSpPr txBox="1"/>
          <p:nvPr/>
        </p:nvSpPr>
        <p:spPr>
          <a:xfrm>
            <a:off x="7894622" y="914970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 12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 569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897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372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69 na 100 tisíc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19232A53-DCEA-43C0-AB08-8B92BC0FF4F5}"/>
              </a:ext>
            </a:extLst>
          </p:cNvPr>
          <p:cNvSpPr txBox="1"/>
          <p:nvPr/>
        </p:nvSpPr>
        <p:spPr>
          <a:xfrm>
            <a:off x="7822194" y="578386"/>
            <a:ext cx="2221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6167808C-DD4A-421B-9D5A-5608932F9D83}"/>
              </a:ext>
            </a:extLst>
          </p:cNvPr>
          <p:cNvSpPr txBox="1"/>
          <p:nvPr/>
        </p:nvSpPr>
        <p:spPr>
          <a:xfrm>
            <a:off x="228000" y="6363777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8</a:t>
            </a: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% pr</a:t>
            </a:r>
            <a:r>
              <a:rPr kumimoji="0" lang="cs-CZ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měrné</a:t>
            </a: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odnoty v pracovních dnech).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F31514D0-6B6B-4DFE-9851-EA31A8D80E45}"/>
              </a:ext>
            </a:extLst>
          </p:cNvPr>
          <p:cNvSpPr txBox="1"/>
          <p:nvPr/>
        </p:nvSpPr>
        <p:spPr>
          <a:xfrm>
            <a:off x="1437629" y="2467860"/>
            <a:ext cx="75824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sledních dnech došlo ke stabilizaci vývoje, populační zátěž stagnuje na úrovni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ca 1 200 nově potvrzených případů na 100 tis. obyvatel za týden </a:t>
            </a:r>
            <a:endParaRPr kumimoji="0" lang="en-US" sz="1600" b="1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5" name="Přímá spojnice se šipkou 34">
            <a:extLst>
              <a:ext uri="{FF2B5EF4-FFF2-40B4-BE49-F238E27FC236}">
                <a16:creationId xmlns:a16="http://schemas.microsoft.com/office/drawing/2014/main" id="{2150B6D9-DF79-4F5B-A9D4-EAD29D736503}"/>
              </a:ext>
            </a:extLst>
          </p:cNvPr>
          <p:cNvCxnSpPr>
            <a:cxnSpLocks/>
          </p:cNvCxnSpPr>
          <p:nvPr/>
        </p:nvCxnSpPr>
        <p:spPr>
          <a:xfrm flipH="1">
            <a:off x="1318586" y="2425900"/>
            <a:ext cx="10263194" cy="0"/>
          </a:xfrm>
          <a:prstGeom prst="straightConnector1">
            <a:avLst/>
          </a:prstGeom>
          <a:ln w="28575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92583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nových hospitalizačních</a:t>
            </a:r>
            <a:r>
              <a:rPr lang="cs-CZ" dirty="0">
                <a:latin typeface="+mn-lt"/>
              </a:rPr>
              <a:t> případů (denní příjmy do nemocnic)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828607" y="3049018"/>
            <a:ext cx="41857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nových hospitalizačních případů </a:t>
            </a:r>
          </a:p>
        </p:txBody>
      </p: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24" name="Rectangle 4">
            <a:extLst>
              <a:ext uri="{FF2B5EF4-FFF2-40B4-BE49-F238E27FC236}">
                <a16:creationId xmlns:a16="http://schemas.microsoft.com/office/drawing/2014/main" id="{855F0C91-5B1C-4CAE-A964-37541F09E87E}"/>
              </a:ext>
            </a:extLst>
          </p:cNvPr>
          <p:cNvSpPr/>
          <p:nvPr/>
        </p:nvSpPr>
        <p:spPr>
          <a:xfrm>
            <a:off x="6196840" y="782308"/>
            <a:ext cx="40790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*:</a:t>
            </a:r>
          </a:p>
        </p:txBody>
      </p:sp>
      <p:sp>
        <p:nvSpPr>
          <p:cNvPr id="29" name="TextovéPole 25">
            <a:extLst>
              <a:ext uri="{FF2B5EF4-FFF2-40B4-BE49-F238E27FC236}">
                <a16:creationId xmlns:a16="http://schemas.microsoft.com/office/drawing/2014/main" id="{DAABB46D-3176-451E-80AD-227ACB80C3C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8236341" y="5107474"/>
            <a:ext cx="3899632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 počítá o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 1.9. s normálními kontakty a dílčím zvýšením základní reprodukce v důsledku sezónnosti, s větší eskalací v průběhu října. Od 25.10. uvažovaný dopad podzimních prázdnin a dílčího zpřísnění opatření, snížení kontaktů a základní reprodukce o </a:t>
            </a:r>
            <a:r>
              <a:rPr kumimoji="0" lang="cs-CZ" sz="1100" b="0" i="1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endParaRPr kumimoji="0" lang="cs-CZ" sz="1100" b="0" i="1" u="sng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8357FBF-827C-445F-9DAB-6997B6CCAC3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204594" y="939567"/>
            <a:ext cx="604008" cy="2486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TextovéPole 29">
            <a:extLst>
              <a:ext uri="{FF2B5EF4-FFF2-40B4-BE49-F238E27FC236}">
                <a16:creationId xmlns:a16="http://schemas.microsoft.com/office/drawing/2014/main" id="{7D246704-7A32-4BAF-A745-D101A7CE827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469911" y="2846604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cénář II: rizikový vývoj s významnými zdravotními dopady, střední další růst</a:t>
            </a:r>
          </a:p>
        </p:txBody>
      </p:sp>
      <p:sp>
        <p:nvSpPr>
          <p:cNvPr id="27" name="TextovéPole 30">
            <a:extLst>
              <a:ext uri="{FF2B5EF4-FFF2-40B4-BE49-F238E27FC236}">
                <a16:creationId xmlns:a16="http://schemas.microsoft.com/office/drawing/2014/main" id="{8DED9F3E-7048-4F0C-A328-13139CFB85A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469911" y="4564358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cénář I: rizikový vývoj s významnými zdravotními dopady, nízký další růst</a:t>
            </a:r>
          </a:p>
        </p:txBody>
      </p:sp>
      <p:sp>
        <p:nvSpPr>
          <p:cNvPr id="28" name="TextovéPole 29">
            <a:extLst>
              <a:ext uri="{FF2B5EF4-FFF2-40B4-BE49-F238E27FC236}">
                <a16:creationId xmlns:a16="http://schemas.microsoft.com/office/drawing/2014/main" id="{B34802EC-09C6-4F42-815E-75908ABF279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469911" y="1210292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cénář III: rizikový vývoj s významnými zdravotními dopady, významný další růst</a:t>
            </a:r>
          </a:p>
        </p:txBody>
      </p:sp>
      <p:cxnSp>
        <p:nvCxnSpPr>
          <p:cNvPr id="31" name="Přímá spojnice 32">
            <a:extLst>
              <a:ext uri="{FF2B5EF4-FFF2-40B4-BE49-F238E27FC236}">
                <a16:creationId xmlns:a16="http://schemas.microsoft.com/office/drawing/2014/main" id="{A0B84346-628A-440C-8D5D-933397A1F73A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7981523" y="3006415"/>
            <a:ext cx="432000" cy="0"/>
          </a:xfrm>
          <a:prstGeom prst="line">
            <a:avLst/>
          </a:prstGeom>
          <a:ln w="3810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Přímá spojnice 33">
            <a:extLst>
              <a:ext uri="{FF2B5EF4-FFF2-40B4-BE49-F238E27FC236}">
                <a16:creationId xmlns:a16="http://schemas.microsoft.com/office/drawing/2014/main" id="{E0D0A1EA-6D43-4BCE-843C-E7BA8B06E3C1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7981523" y="4718707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Přímá spojnice 20">
            <a:extLst>
              <a:ext uri="{FF2B5EF4-FFF2-40B4-BE49-F238E27FC236}">
                <a16:creationId xmlns:a16="http://schemas.microsoft.com/office/drawing/2014/main" id="{65F24208-3A66-4BC0-A6F9-7861D97A7190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7981523" y="1362286"/>
            <a:ext cx="432000" cy="0"/>
          </a:xfrm>
          <a:prstGeom prst="line">
            <a:avLst/>
          </a:prstGeom>
          <a:ln w="3810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ovéPole 25">
            <a:extLst>
              <a:ext uri="{FF2B5EF4-FFF2-40B4-BE49-F238E27FC236}">
                <a16:creationId xmlns:a16="http://schemas.microsoft.com/office/drawing/2014/main" id="{F6EE3EAD-CE85-4E00-9B6A-C72940F4A7C8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236341" y="3299969"/>
            <a:ext cx="389963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 počítá o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 1.9. s normálními kontakty a dílčím zvýšením základní reprodukce v důsledku sezónnosti, s větší eskalací v průběhu října. Od 25.10. uvažovaný dopad podzimních prázdnin a dílčího zpřísnění opatření, snížení kontaktů a základní reprodukce o </a:t>
            </a:r>
            <a:r>
              <a:rPr kumimoji="0" lang="cs-CZ" sz="1100" b="0" i="1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. Od listopadu se počítá opět s dílčím zvýšením počtu kontaktů.</a:t>
            </a:r>
          </a:p>
        </p:txBody>
      </p:sp>
      <p:sp>
        <p:nvSpPr>
          <p:cNvPr id="20" name="TextovéPole 25">
            <a:extLst>
              <a:ext uri="{FF2B5EF4-FFF2-40B4-BE49-F238E27FC236}">
                <a16:creationId xmlns:a16="http://schemas.microsoft.com/office/drawing/2014/main" id="{775BF37A-7C8D-4F93-8A35-D20D3EA538B2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8292368" y="1662332"/>
            <a:ext cx="389963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 počítá o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 1.9. s normálními kontakty a dílčím zvýšením základní reprodukce v důsledku sezónnosti, s větší eskalací v průběhu října. Od 25.10. uvažovaný dopad podzimních prázdnin a dílčího zpřísnění opatření, snížení kontaktů a základní reprodukce o </a:t>
            </a:r>
            <a:r>
              <a:rPr kumimoji="0" lang="cs-CZ" sz="1100" b="0" i="1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. Od listopadu se počítá opět s významnějším zvýšením počtu kontaktů.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44E11B39-2C45-4539-B0BD-5905477A04D0}"/>
              </a:ext>
            </a:extLst>
          </p:cNvPr>
          <p:cNvGraphicFramePr/>
          <p:nvPr>
            <p:custDataLst>
              <p:tags r:id="rId11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F5CF3B5E-4000-40F2-A35A-CDDDFE82B228}"/>
              </a:ext>
            </a:extLst>
          </p:cNvPr>
          <p:cNvCxnSpPr/>
          <p:nvPr/>
        </p:nvCxnSpPr>
        <p:spPr>
          <a:xfrm>
            <a:off x="1097280" y="2665442"/>
            <a:ext cx="5468112" cy="0"/>
          </a:xfrm>
          <a:prstGeom prst="straightConnector1">
            <a:avLst/>
          </a:prstGeom>
          <a:ln w="57150">
            <a:solidFill>
              <a:srgbClr val="D31145"/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41E2765-39CE-4DD4-8011-D2677922B9E3}"/>
              </a:ext>
            </a:extLst>
          </p:cNvPr>
          <p:cNvSpPr txBox="1"/>
          <p:nvPr/>
        </p:nvSpPr>
        <p:spPr>
          <a:xfrm>
            <a:off x="1190265" y="2788506"/>
            <a:ext cx="4490099" cy="646331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struktura prevalence nově nakažených s vysokou pravděpodobností navýší zátěž nemocnic. V následujícím období je nutné očekávat až &gt; 700 nových příjmů do nemocnic denně. </a:t>
            </a:r>
            <a:endParaRPr kumimoji="0" lang="en-US" sz="1200" b="1" i="1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50309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celkový počet </a:t>
            </a:r>
            <a:r>
              <a:rPr lang="cs-CZ" u="sng" dirty="0">
                <a:latin typeface="+mn-lt"/>
              </a:rPr>
              <a:t>aktuálně hospitalizovaných</a:t>
            </a:r>
            <a:endParaRPr lang="cs-CZ" dirty="0">
              <a:latin typeface="+mn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29" name="Rectangle 4">
            <a:extLst>
              <a:ext uri="{FF2B5EF4-FFF2-40B4-BE49-F238E27FC236}">
                <a16:creationId xmlns:a16="http://schemas.microsoft.com/office/drawing/2014/main" id="{1216A610-1C1B-4C6D-A6AC-9F1F0A77424F}"/>
              </a:ext>
            </a:extLst>
          </p:cNvPr>
          <p:cNvSpPr/>
          <p:nvPr/>
        </p:nvSpPr>
        <p:spPr>
          <a:xfrm>
            <a:off x="6196840" y="782308"/>
            <a:ext cx="40790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*:</a:t>
            </a:r>
          </a:p>
        </p:txBody>
      </p:sp>
      <p:sp>
        <p:nvSpPr>
          <p:cNvPr id="36" name="TextovéPole 25">
            <a:extLst>
              <a:ext uri="{FF2B5EF4-FFF2-40B4-BE49-F238E27FC236}">
                <a16:creationId xmlns:a16="http://schemas.microsoft.com/office/drawing/2014/main" id="{7EF37A7E-DBC1-41F2-88DA-0DB6F0B219F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36341" y="5107474"/>
            <a:ext cx="3899632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 počítá o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 1.9. s normálními kontakty a dílčím zvýšením základní reprodukce v důsledku sezónnosti, s větší eskalací v průběhu října. Od 25.10. uvažovaný dopad podzimních prázdnin a dílčího zpřísnění opatření, snížení kontaktů a základní reprodukce o </a:t>
            </a:r>
            <a:r>
              <a:rPr kumimoji="0" lang="cs-CZ" sz="1100" b="0" i="1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endParaRPr kumimoji="0" lang="cs-CZ" sz="1100" b="0" i="1" u="sng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TextovéPole 29">
            <a:extLst>
              <a:ext uri="{FF2B5EF4-FFF2-40B4-BE49-F238E27FC236}">
                <a16:creationId xmlns:a16="http://schemas.microsoft.com/office/drawing/2014/main" id="{34497C41-6B1B-44B9-A0BE-49E7332BC28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469911" y="2846604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cénář II: rizikový vývoj s významnými zdravotními dopady, střední další růst</a:t>
            </a:r>
          </a:p>
        </p:txBody>
      </p:sp>
      <p:sp>
        <p:nvSpPr>
          <p:cNvPr id="39" name="TextovéPole 30">
            <a:extLst>
              <a:ext uri="{FF2B5EF4-FFF2-40B4-BE49-F238E27FC236}">
                <a16:creationId xmlns:a16="http://schemas.microsoft.com/office/drawing/2014/main" id="{4C35E0D9-E070-4FD2-B820-DDF5E143F38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469911" y="4564358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cénář I: rizikový vývoj s významnými zdravotními dopady, nízký další růst</a:t>
            </a:r>
          </a:p>
        </p:txBody>
      </p:sp>
      <p:sp>
        <p:nvSpPr>
          <p:cNvPr id="40" name="TextovéPole 29">
            <a:extLst>
              <a:ext uri="{FF2B5EF4-FFF2-40B4-BE49-F238E27FC236}">
                <a16:creationId xmlns:a16="http://schemas.microsoft.com/office/drawing/2014/main" id="{2CE6E556-8582-434A-BE0C-8312CFF948E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469911" y="1210292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cénář III: rizikový vývoj s významnými zdravotními dopady, významný další růst</a:t>
            </a:r>
          </a:p>
        </p:txBody>
      </p:sp>
      <p:cxnSp>
        <p:nvCxnSpPr>
          <p:cNvPr id="41" name="Přímá spojnice 32">
            <a:extLst>
              <a:ext uri="{FF2B5EF4-FFF2-40B4-BE49-F238E27FC236}">
                <a16:creationId xmlns:a16="http://schemas.microsoft.com/office/drawing/2014/main" id="{4EBE73E0-8378-4335-B6C3-998707A6387A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7981523" y="3006415"/>
            <a:ext cx="432000" cy="0"/>
          </a:xfrm>
          <a:prstGeom prst="line">
            <a:avLst/>
          </a:prstGeom>
          <a:ln w="3810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Přímá spojnice 33">
            <a:extLst>
              <a:ext uri="{FF2B5EF4-FFF2-40B4-BE49-F238E27FC236}">
                <a16:creationId xmlns:a16="http://schemas.microsoft.com/office/drawing/2014/main" id="{74F47D70-52F3-4880-A4A1-51BDDE2CE0DC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7981523" y="4718707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Přímá spojnice 20">
            <a:extLst>
              <a:ext uri="{FF2B5EF4-FFF2-40B4-BE49-F238E27FC236}">
                <a16:creationId xmlns:a16="http://schemas.microsoft.com/office/drawing/2014/main" id="{2A3A39DC-A651-46C6-9504-6C2BCBD0D1CE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7981523" y="1362286"/>
            <a:ext cx="432000" cy="0"/>
          </a:xfrm>
          <a:prstGeom prst="line">
            <a:avLst/>
          </a:prstGeom>
          <a:ln w="3810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ovéPole 25">
            <a:extLst>
              <a:ext uri="{FF2B5EF4-FFF2-40B4-BE49-F238E27FC236}">
                <a16:creationId xmlns:a16="http://schemas.microsoft.com/office/drawing/2014/main" id="{7A58A352-97F1-40D8-898B-E446FD5BF897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236341" y="3299969"/>
            <a:ext cx="389963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 počítá o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 1.9. s normálními kontakty a dílčím zvýšením základní reprodukce v důsledku sezónnosti, s větší eskalací v průběhu října. Od 25.10. uvažovaný dopad podzimních prázdnin a dílčího zpřísnění opatření, snížení kontaktů a základní reprodukce o </a:t>
            </a:r>
            <a:r>
              <a:rPr kumimoji="0" lang="cs-CZ" sz="1100" b="0" i="1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. Od listopadu se počítá opět s dílčím zvýšením počtu kontaktů.</a:t>
            </a:r>
          </a:p>
        </p:txBody>
      </p:sp>
      <p:sp>
        <p:nvSpPr>
          <p:cNvPr id="45" name="TextovéPole 25">
            <a:extLst>
              <a:ext uri="{FF2B5EF4-FFF2-40B4-BE49-F238E27FC236}">
                <a16:creationId xmlns:a16="http://schemas.microsoft.com/office/drawing/2014/main" id="{D2B0B317-C26B-437B-BC44-437C880A11A1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292368" y="1662332"/>
            <a:ext cx="389963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 počítá o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 1.9. s normálními kontakty a dílčím zvýšením základní reprodukce v důsledku sezónnosti, s větší eskalací v průběhu října. Od 25.10. uvažovaný dopad podzimních prázdnin a dílčího zpřísnění opatření, snížení kontaktů a základní reprodukce o </a:t>
            </a:r>
            <a:r>
              <a:rPr kumimoji="0" lang="cs-CZ" sz="1100" b="0" i="1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. Od listopadu se počítá opět s významnějším zvýšením počtu kontaktů.</a:t>
            </a:r>
          </a:p>
        </p:txBody>
      </p:sp>
      <p:cxnSp>
        <p:nvCxnSpPr>
          <p:cNvPr id="16" name="Přímá spojnice se šipkou 15">
            <a:extLst>
              <a:ext uri="{FF2B5EF4-FFF2-40B4-BE49-F238E27FC236}">
                <a16:creationId xmlns:a16="http://schemas.microsoft.com/office/drawing/2014/main" id="{7430B167-A65D-4C63-B519-94EE0E9FC020}"/>
              </a:ext>
            </a:extLst>
          </p:cNvPr>
          <p:cNvCxnSpPr/>
          <p:nvPr/>
        </p:nvCxnSpPr>
        <p:spPr>
          <a:xfrm>
            <a:off x="1207008" y="3006622"/>
            <a:ext cx="5468112" cy="0"/>
          </a:xfrm>
          <a:prstGeom prst="straightConnector1">
            <a:avLst/>
          </a:prstGeom>
          <a:ln w="57150">
            <a:solidFill>
              <a:srgbClr val="D31145"/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F121F385-8DF4-4058-868E-BFAAE597A083}"/>
              </a:ext>
            </a:extLst>
          </p:cNvPr>
          <p:cNvSpPr txBox="1"/>
          <p:nvPr/>
        </p:nvSpPr>
        <p:spPr>
          <a:xfrm>
            <a:off x="1234716" y="3132084"/>
            <a:ext cx="4490099" cy="646331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struktura prevalence nově nakažených s vysokou pravděpodobností navýší zátěž nemocnic. V následujícím období je nutné očekávat &gt; 7000 hospitalizací v jeden den. </a:t>
            </a:r>
            <a:endParaRPr kumimoji="0" lang="en-US" sz="1200" b="1" i="1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44200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r>
              <a:rPr lang="en-US" u="sng" dirty="0">
                <a:latin typeface="+mn-lt"/>
              </a:rPr>
              <a:t> </a:t>
            </a:r>
            <a:r>
              <a:rPr lang="en-US" u="sng" dirty="0" err="1">
                <a:latin typeface="+mn-lt"/>
              </a:rPr>
              <a:t>na</a:t>
            </a:r>
            <a:r>
              <a:rPr lang="en-US" u="sng" dirty="0">
                <a:latin typeface="+mn-lt"/>
              </a:rPr>
              <a:t> JIP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21" name="Rectangle 4">
            <a:extLst>
              <a:ext uri="{FF2B5EF4-FFF2-40B4-BE49-F238E27FC236}">
                <a16:creationId xmlns:a16="http://schemas.microsoft.com/office/drawing/2014/main" id="{ECD00882-A348-4108-B506-6DBDE8494531}"/>
              </a:ext>
            </a:extLst>
          </p:cNvPr>
          <p:cNvSpPr/>
          <p:nvPr/>
        </p:nvSpPr>
        <p:spPr>
          <a:xfrm>
            <a:off x="6196840" y="782308"/>
            <a:ext cx="40790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*: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6A1A283C-4E32-4AB5-BAA8-37701DC8E705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30" name="TextovéPole 25">
            <a:extLst>
              <a:ext uri="{FF2B5EF4-FFF2-40B4-BE49-F238E27FC236}">
                <a16:creationId xmlns:a16="http://schemas.microsoft.com/office/drawing/2014/main" id="{339FD5FC-2800-4F76-85EF-EE4791C89D1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236341" y="5107474"/>
            <a:ext cx="3899632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 počítá o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 1.9. s normálními kontakty a dílčím zvýšením základní reprodukce v důsledku sezónnosti, s větší eskalací v průběhu října. Od 25.10. uvažovaný dopad podzimních prázdnin a dílčího zpřísnění opatření, snížení kontaktů a základní reprodukce o </a:t>
            </a:r>
            <a:r>
              <a:rPr kumimoji="0" lang="cs-CZ" sz="1100" b="0" i="1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endParaRPr kumimoji="0" lang="cs-CZ" sz="1100" b="0" i="1" u="sng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xtovéPole 29">
            <a:extLst>
              <a:ext uri="{FF2B5EF4-FFF2-40B4-BE49-F238E27FC236}">
                <a16:creationId xmlns:a16="http://schemas.microsoft.com/office/drawing/2014/main" id="{605C5597-6F9A-433E-ABE2-B3BD82F3BC8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469911" y="2846604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cénář II: rizikový vývoj s významnými zdravotními dopady, střední další růst</a:t>
            </a:r>
          </a:p>
        </p:txBody>
      </p:sp>
      <p:sp>
        <p:nvSpPr>
          <p:cNvPr id="39" name="TextovéPole 30">
            <a:extLst>
              <a:ext uri="{FF2B5EF4-FFF2-40B4-BE49-F238E27FC236}">
                <a16:creationId xmlns:a16="http://schemas.microsoft.com/office/drawing/2014/main" id="{B24AEAA5-0720-4A54-9613-92B3068CE9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469911" y="4564358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cénář I: rizikový vývoj s významnými zdravotními dopady, nízký další růst</a:t>
            </a:r>
          </a:p>
        </p:txBody>
      </p:sp>
      <p:sp>
        <p:nvSpPr>
          <p:cNvPr id="40" name="TextovéPole 29">
            <a:extLst>
              <a:ext uri="{FF2B5EF4-FFF2-40B4-BE49-F238E27FC236}">
                <a16:creationId xmlns:a16="http://schemas.microsoft.com/office/drawing/2014/main" id="{5771C07A-544D-4E92-8A2C-44E589702A8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469911" y="1210292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cénář III: rizikový vývoj s významnými zdravotními dopady, významný další růst</a:t>
            </a:r>
          </a:p>
        </p:txBody>
      </p:sp>
      <p:cxnSp>
        <p:nvCxnSpPr>
          <p:cNvPr id="41" name="Přímá spojnice 32">
            <a:extLst>
              <a:ext uri="{FF2B5EF4-FFF2-40B4-BE49-F238E27FC236}">
                <a16:creationId xmlns:a16="http://schemas.microsoft.com/office/drawing/2014/main" id="{18C66FA6-282C-49D4-B58D-88952D04828B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7981523" y="3006415"/>
            <a:ext cx="432000" cy="0"/>
          </a:xfrm>
          <a:prstGeom prst="line">
            <a:avLst/>
          </a:prstGeom>
          <a:ln w="3810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Přímá spojnice 33">
            <a:extLst>
              <a:ext uri="{FF2B5EF4-FFF2-40B4-BE49-F238E27FC236}">
                <a16:creationId xmlns:a16="http://schemas.microsoft.com/office/drawing/2014/main" id="{8C6A790D-4CD9-4090-8A17-42D15C760FD5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7981523" y="4718707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Přímá spojnice 20">
            <a:extLst>
              <a:ext uri="{FF2B5EF4-FFF2-40B4-BE49-F238E27FC236}">
                <a16:creationId xmlns:a16="http://schemas.microsoft.com/office/drawing/2014/main" id="{2C39BBFC-36CE-446E-A272-4D1DDDF03BC1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7981523" y="1362286"/>
            <a:ext cx="432000" cy="0"/>
          </a:xfrm>
          <a:prstGeom prst="line">
            <a:avLst/>
          </a:prstGeom>
          <a:ln w="3810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ovéPole 25">
            <a:extLst>
              <a:ext uri="{FF2B5EF4-FFF2-40B4-BE49-F238E27FC236}">
                <a16:creationId xmlns:a16="http://schemas.microsoft.com/office/drawing/2014/main" id="{EFAB691D-F7B3-4D59-92E8-0C11B267B243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236341" y="3299969"/>
            <a:ext cx="389963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 počítá o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 1.9. s normálními kontakty a dílčím zvýšením základní reprodukce v důsledku sezónnosti, s větší eskalací v průběhu října. Od 25.10. uvažovaný dopad podzimních prázdnin a dílčího zpřísnění opatření, snížení kontaktů a základní reprodukce o </a:t>
            </a:r>
            <a:r>
              <a:rPr kumimoji="0" lang="cs-CZ" sz="1100" b="0" i="1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. Od listopadu se počítá opět s dílčím zvýšením počtu kontaktů.</a:t>
            </a:r>
          </a:p>
        </p:txBody>
      </p:sp>
      <p:sp>
        <p:nvSpPr>
          <p:cNvPr id="46" name="TextovéPole 25">
            <a:extLst>
              <a:ext uri="{FF2B5EF4-FFF2-40B4-BE49-F238E27FC236}">
                <a16:creationId xmlns:a16="http://schemas.microsoft.com/office/drawing/2014/main" id="{0182D921-943F-4F97-9CA7-32021024ABBD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8292368" y="1662332"/>
            <a:ext cx="389963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 počítá o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 1.9. s normálními kontakty a dílčím zvýšením základní reprodukce v důsledku sezónnosti, s větší eskalací v průběhu října. Od 25.10. uvažovaný dopad podzimních prázdnin a dílčího zpřísnění opatření, snížení kontaktů a základní reprodukce o </a:t>
            </a:r>
            <a:r>
              <a:rPr kumimoji="0" lang="cs-CZ" sz="1100" b="0" i="1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. Od listopadu se počítá opět s významnějším zvýšením počtu kontaktů.</a:t>
            </a:r>
          </a:p>
        </p:txBody>
      </p:sp>
      <p:cxnSp>
        <p:nvCxnSpPr>
          <p:cNvPr id="16" name="Přímá spojnice se šipkou 15">
            <a:extLst>
              <a:ext uri="{FF2B5EF4-FFF2-40B4-BE49-F238E27FC236}">
                <a16:creationId xmlns:a16="http://schemas.microsoft.com/office/drawing/2014/main" id="{D23053DD-AF3C-4F83-BECF-72F1A6871BEE}"/>
              </a:ext>
            </a:extLst>
          </p:cNvPr>
          <p:cNvCxnSpPr/>
          <p:nvPr/>
        </p:nvCxnSpPr>
        <p:spPr>
          <a:xfrm>
            <a:off x="1087859" y="3022094"/>
            <a:ext cx="5468112" cy="0"/>
          </a:xfrm>
          <a:prstGeom prst="straightConnector1">
            <a:avLst/>
          </a:prstGeom>
          <a:ln w="57150">
            <a:solidFill>
              <a:srgbClr val="D31145"/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E167E152-B136-461D-963B-448BAD3AA04E}"/>
              </a:ext>
            </a:extLst>
          </p:cNvPr>
          <p:cNvSpPr txBox="1"/>
          <p:nvPr/>
        </p:nvSpPr>
        <p:spPr>
          <a:xfrm>
            <a:off x="1179299" y="3126747"/>
            <a:ext cx="4490099" cy="646331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struktura prevalence nově nakažených s vysokou pravděpodobností navýší zátěž nemocnic. V následujícím období je nutné očekávat &gt; 1000 hospitalizací na JIP v jeden den. </a:t>
            </a:r>
            <a:endParaRPr kumimoji="0" lang="en-US" sz="1200" b="1" i="1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15904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0" name="TextBox 14">
            <a:extLst>
              <a:ext uri="{FF2B5EF4-FFF2-40B4-BE49-F238E27FC236}">
                <a16:creationId xmlns:a16="http://schemas.microsoft.com/office/drawing/2014/main" id="{9FE21065-745F-4CF7-BEC5-D790548DCE6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A9A8C5BA-26C5-4E88-9F5B-549ACDBA4853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1795D034-72FD-4F2B-9BDA-3E37A4BAAA67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C1801E2B-5217-4A40-9887-D4D8D0FE3EFF}"/>
                </a:ext>
              </a:extLst>
            </p:cNvPr>
            <p:cNvGrpSpPr/>
            <p:nvPr>
              <p:custDataLst>
                <p:tags r:id="rId8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446DFC13-8F3A-43EB-9A7A-C47031E55F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31D5C6F4-F0BB-45A0-AFB5-FC7A59EFDB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48E88BBB-CEF4-455A-A6CB-89AACCEBEEF8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A56BD0F1-34E8-451A-B545-A8CAB7B35E7A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4B908267-772A-4AD8-AD63-D229CC03B90D}"/>
                </a:ext>
              </a:extLst>
            </p:cNvPr>
            <p:cNvCxnSpPr>
              <a:cxnSpLocks/>
            </p:cNvCxnSpPr>
            <p:nvPr>
              <p:custDataLst>
                <p:tags r:id="rId9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9D8F8303-821D-4071-9535-88559C8181E2}"/>
              </a:ext>
            </a:extLst>
          </p:cNvPr>
          <p:cNvSpPr txBox="1"/>
          <p:nvPr/>
        </p:nvSpPr>
        <p:spPr>
          <a:xfrm>
            <a:off x="1104654" y="1993612"/>
            <a:ext cx="5693216" cy="830997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struktura prevalence nově nakažených s vysokou pravděpodobností navýší zátěž nemocnic. V 1. polovině prosince je možné očekávat až &gt; 7 000 hospitalizací v jeden den.</a:t>
            </a:r>
            <a:endParaRPr kumimoji="0" lang="en-US" sz="1600" b="1" i="1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0" name="Přímá spojnice se šipkou 39">
            <a:extLst>
              <a:ext uri="{FF2B5EF4-FFF2-40B4-BE49-F238E27FC236}">
                <a16:creationId xmlns:a16="http://schemas.microsoft.com/office/drawing/2014/main" id="{490D0BCA-DC21-4577-95CC-B9EF0FB6F232}"/>
              </a:ext>
            </a:extLst>
          </p:cNvPr>
          <p:cNvCxnSpPr>
            <a:cxnSpLocks/>
          </p:cNvCxnSpPr>
          <p:nvPr/>
        </p:nvCxnSpPr>
        <p:spPr>
          <a:xfrm flipH="1">
            <a:off x="1049225" y="3525301"/>
            <a:ext cx="8001643" cy="0"/>
          </a:xfrm>
          <a:prstGeom prst="straightConnector1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45" name="Přímá spojnice 44">
            <a:extLst>
              <a:ext uri="{FF2B5EF4-FFF2-40B4-BE49-F238E27FC236}">
                <a16:creationId xmlns:a16="http://schemas.microsoft.com/office/drawing/2014/main" id="{84A8C2FB-D31C-4C2A-ACAB-62DEB7B1E8B1}"/>
              </a:ext>
            </a:extLst>
          </p:cNvPr>
          <p:cNvCxnSpPr>
            <a:cxnSpLocks/>
          </p:cNvCxnSpPr>
          <p:nvPr/>
        </p:nvCxnSpPr>
        <p:spPr>
          <a:xfrm>
            <a:off x="6797870" y="3076575"/>
            <a:ext cx="0" cy="2711467"/>
          </a:xfrm>
          <a:prstGeom prst="line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</a:ln>
          <a:effectLst/>
        </p:spPr>
      </p:cxnSp>
      <p:graphicFrame>
        <p:nvGraphicFramePr>
          <p:cNvPr id="27" name="Chart 11">
            <a:extLst>
              <a:ext uri="{FF2B5EF4-FFF2-40B4-BE49-F238E27FC236}">
                <a16:creationId xmlns:a16="http://schemas.microsoft.com/office/drawing/2014/main" id="{9F4A3D73-331A-46F1-A0EA-D7E2E7E71F5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526200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9442822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Fals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Fals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Fals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499</TotalTime>
  <Words>1930</Words>
  <Application>Microsoft Office PowerPoint</Application>
  <PresentationFormat>Širokoúhlá obrazovka</PresentationFormat>
  <Paragraphs>135</Paragraphs>
  <Slides>10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10</vt:i4>
      </vt:variant>
    </vt:vector>
  </HeadingPairs>
  <TitlesOfParts>
    <vt:vector size="18" baseType="lpstr">
      <vt:lpstr>Calibri</vt:lpstr>
      <vt:lpstr>Arial Black</vt:lpstr>
      <vt:lpstr>Calibri Light</vt:lpstr>
      <vt:lpstr>Arial</vt:lpstr>
      <vt:lpstr>Wingdings</vt:lpstr>
      <vt:lpstr>1_Motiv Office</vt:lpstr>
      <vt:lpstr>7_Motiv Office</vt:lpstr>
      <vt:lpstr>Motiv Office</vt:lpstr>
      <vt:lpstr>Datová a informační základna  pro management pandemie COVID-19</vt:lpstr>
      <vt:lpstr>Prezentace aplikace PowerPoint</vt:lpstr>
      <vt:lpstr>7 denní počet nových případů (na 100 000 obyv.) v ORP</vt:lpstr>
      <vt:lpstr>Prezentace aplikace PowerPoint</vt:lpstr>
      <vt:lpstr>7denní hodnoty na 100 tisíc obyvatel: krátkodobá projekce vývoje </vt:lpstr>
      <vt:lpstr>Predikovaný počet nových hospitalizačních případů (denní příjmy do nemocnic)</vt:lpstr>
      <vt:lpstr>Predikovaný celkový počet aktuálně hospitalizovaných</vt:lpstr>
      <vt:lpstr>Predikovaný počet aktuálně hospitalizovaných na JIP</vt:lpstr>
      <vt:lpstr>Predikce celkového počtu hospitalizací – aktuální počet léčených </vt:lpstr>
      <vt:lpstr>Predikce počtu pacientů na JIP – aktuální počet případů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Dušek Ladislav prof. RNDr. Ph.D.</cp:lastModifiedBy>
  <cp:revision>2209</cp:revision>
  <dcterms:created xsi:type="dcterms:W3CDTF">2020-11-11T17:36:28Z</dcterms:created>
  <dcterms:modified xsi:type="dcterms:W3CDTF">2021-12-04T09:53:33Z</dcterms:modified>
</cp:coreProperties>
</file>